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31"/>
  </p:notesMasterIdLst>
  <p:handoutMasterIdLst>
    <p:handoutMasterId r:id="rId32"/>
  </p:handoutMasterIdLst>
  <p:sldIdLst>
    <p:sldId id="281" r:id="rId2"/>
    <p:sldId id="290" r:id="rId3"/>
    <p:sldId id="257" r:id="rId4"/>
    <p:sldId id="258" r:id="rId5"/>
    <p:sldId id="256" r:id="rId6"/>
    <p:sldId id="276" r:id="rId7"/>
    <p:sldId id="260" r:id="rId8"/>
    <p:sldId id="282" r:id="rId9"/>
    <p:sldId id="283" r:id="rId10"/>
    <p:sldId id="261" r:id="rId11"/>
    <p:sldId id="262" r:id="rId12"/>
    <p:sldId id="284" r:id="rId13"/>
    <p:sldId id="287" r:id="rId14"/>
    <p:sldId id="263" r:id="rId15"/>
    <p:sldId id="264" r:id="rId16"/>
    <p:sldId id="265" r:id="rId17"/>
    <p:sldId id="288" r:id="rId18"/>
    <p:sldId id="289" r:id="rId19"/>
    <p:sldId id="291" r:id="rId20"/>
    <p:sldId id="292" r:id="rId21"/>
    <p:sldId id="294" r:id="rId22"/>
    <p:sldId id="285" r:id="rId23"/>
    <p:sldId id="286" r:id="rId24"/>
    <p:sldId id="296" r:id="rId25"/>
    <p:sldId id="297" r:id="rId26"/>
    <p:sldId id="295" r:id="rId27"/>
    <p:sldId id="266" r:id="rId28"/>
    <p:sldId id="267" r:id="rId29"/>
    <p:sldId id="293" r:id="rId30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  <p14:sldId id="290"/>
            <p14:sldId id="257"/>
          </p14:sldIdLst>
        </p14:section>
        <p14:section name="William" id="{2A7242DC-929E-4579-8F10-2B02EF80F144}">
          <p14:sldIdLst>
            <p14:sldId id="258"/>
            <p14:sldId id="256"/>
            <p14:sldId id="276"/>
            <p14:sldId id="260"/>
            <p14:sldId id="282"/>
            <p14:sldId id="283"/>
          </p14:sldIdLst>
        </p14:section>
        <p14:section name="Nizar Nadif" id="{166B4E13-456F-4DE7-8043-47B198AC9D32}">
          <p14:sldIdLst>
            <p14:sldId id="261"/>
            <p14:sldId id="262"/>
            <p14:sldId id="284"/>
            <p14:sldId id="287"/>
          </p14:sldIdLst>
        </p14:section>
        <p14:section name="Rizky &amp; Adit" id="{D85E7BA3-836F-4CB6-B050-46665D3F05EF}">
          <p14:sldIdLst>
            <p14:sldId id="263"/>
            <p14:sldId id="264"/>
            <p14:sldId id="265"/>
            <p14:sldId id="288"/>
            <p14:sldId id="289"/>
            <p14:sldId id="291"/>
            <p14:sldId id="292"/>
            <p14:sldId id="294"/>
          </p14:sldIdLst>
        </p14:section>
        <p14:section name="Aris" id="{04707198-36AF-447B-9D89-721749FC5B13}">
          <p14:sldIdLst>
            <p14:sldId id="285"/>
            <p14:sldId id="286"/>
            <p14:sldId id="296"/>
            <p14:sldId id="297"/>
            <p14:sldId id="295"/>
            <p14:sldId id="266"/>
            <p14:sldId id="267"/>
          </p14:sldIdLst>
        </p14:section>
        <p14:section name="William" id="{2948DB12-55B2-4732-BF0B-74F3B9DE76B1}">
          <p14:sldIdLst>
            <p14:sldId id="29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32BA7C"/>
    <a:srgbClr val="C57C86"/>
    <a:srgbClr val="EBBADB"/>
    <a:srgbClr val="FDAF1F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34" autoAdjust="0"/>
    <p:restoredTop sz="94660"/>
  </p:normalViewPr>
  <p:slideViewPr>
    <p:cSldViewPr snapToGrid="0" showGuides="1">
      <p:cViewPr>
        <p:scale>
          <a:sx n="48" d="100"/>
          <a:sy n="48" d="100"/>
        </p:scale>
        <p:origin x="1590" y="5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2 - 17 th</c:v>
                </c:pt>
                <c:pt idx="1">
                  <c:v>18 - 39 th</c:v>
                </c:pt>
                <c:pt idx="2">
                  <c:v>40 - 59 th</c:v>
                </c:pt>
                <c:pt idx="3">
                  <c:v>60+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5.8</c:v>
                </c:pt>
                <c:pt idx="2">
                  <c:v>7.2</c:v>
                </c:pt>
                <c:pt idx="3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21-440A-9049-E36F08205D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ani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2 - 17 th</c:v>
                </c:pt>
                <c:pt idx="1">
                  <c:v>18 - 39 th</c:v>
                </c:pt>
                <c:pt idx="2">
                  <c:v>40 - 59 th</c:v>
                </c:pt>
                <c:pt idx="3">
                  <c:v>60+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.4</c:v>
                </c:pt>
                <c:pt idx="1">
                  <c:v>9.3000000000000007</c:v>
                </c:pt>
                <c:pt idx="2">
                  <c:v>12.3</c:v>
                </c:pt>
                <c:pt idx="3">
                  <c:v>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1-440A-9049-E36F08205D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ta-Rat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2 - 17 th</c:v>
                </c:pt>
                <c:pt idx="1">
                  <c:v>18 - 39 th</c:v>
                </c:pt>
                <c:pt idx="2">
                  <c:v>40 - 59 th</c:v>
                </c:pt>
                <c:pt idx="3">
                  <c:v>60+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5.7</c:v>
                </c:pt>
                <c:pt idx="1">
                  <c:v>7.4</c:v>
                </c:pt>
                <c:pt idx="2">
                  <c:v>9.8000000000000007</c:v>
                </c:pt>
                <c:pt idx="3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21-440A-9049-E36F08205D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16"/>
        <c:axId val="2009030159"/>
        <c:axId val="1986091919"/>
      </c:barChart>
      <c:catAx>
        <c:axId val="200903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6091919"/>
        <c:crosses val="autoZero"/>
        <c:auto val="1"/>
        <c:lblAlgn val="ctr"/>
        <c:lblOffset val="100"/>
        <c:noMultiLvlLbl val="0"/>
      </c:catAx>
      <c:valAx>
        <c:axId val="1986091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9030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numCol="1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numCol="1"/>
    <a:lstStyle/>
    <a:p>
      <a:pPr>
        <a:defRPr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13F2B4-6B2D-4B53-AF6C-49F2D263B1B7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5B27DC1E-C79A-4492-B097-52C422C3EDCB}">
      <dgm:prSet phldrT="[Text]" custT="1"/>
      <dgm:spPr/>
      <dgm:t>
        <a:bodyPr/>
        <a:lstStyle/>
        <a:p>
          <a:r>
            <a:rPr lang="en-US" sz="2000" dirty="0"/>
            <a:t>MAIN USER</a:t>
          </a:r>
          <a:endParaRPr lang="en-ID" sz="2000" dirty="0"/>
        </a:p>
      </dgm:t>
    </dgm:pt>
    <dgm:pt modelId="{D0D3CBE3-2A92-4F9E-9029-16BB96B54F71}" type="parTrans" cxnId="{3BA02BB3-6D77-488C-AD45-92600BE54D2B}">
      <dgm:prSet/>
      <dgm:spPr/>
      <dgm:t>
        <a:bodyPr/>
        <a:lstStyle/>
        <a:p>
          <a:endParaRPr lang="en-ID"/>
        </a:p>
      </dgm:t>
    </dgm:pt>
    <dgm:pt modelId="{AEBC4A4A-BA85-420A-9ED0-CA1796ECD3E0}" type="sibTrans" cxnId="{3BA02BB3-6D77-488C-AD45-92600BE54D2B}">
      <dgm:prSet/>
      <dgm:spPr/>
      <dgm:t>
        <a:bodyPr/>
        <a:lstStyle/>
        <a:p>
          <a:endParaRPr lang="en-ID"/>
        </a:p>
      </dgm:t>
    </dgm:pt>
    <dgm:pt modelId="{A3F41090-82EB-4930-A100-4A445A8986C7}">
      <dgm:prSet phldrT="[Text]" custT="1"/>
      <dgm:spPr/>
      <dgm:t>
        <a:bodyPr/>
        <a:lstStyle/>
        <a:p>
          <a:r>
            <a:rPr lang="en-US" sz="2000" dirty="0"/>
            <a:t>MAHASISWA</a:t>
          </a:r>
          <a:endParaRPr lang="en-ID" sz="2000" dirty="0"/>
        </a:p>
      </dgm:t>
    </dgm:pt>
    <dgm:pt modelId="{9355FA55-4331-41FD-AD5D-4F2919C00D4E}" type="parTrans" cxnId="{EC77F79A-D09A-4F30-9D68-45B2E71BD96B}">
      <dgm:prSet/>
      <dgm:spPr/>
      <dgm:t>
        <a:bodyPr/>
        <a:lstStyle/>
        <a:p>
          <a:endParaRPr lang="en-ID"/>
        </a:p>
      </dgm:t>
    </dgm:pt>
    <dgm:pt modelId="{B0C070B4-B377-48A8-835B-FAF623B65D83}" type="sibTrans" cxnId="{EC77F79A-D09A-4F30-9D68-45B2E71BD96B}">
      <dgm:prSet/>
      <dgm:spPr/>
      <dgm:t>
        <a:bodyPr/>
        <a:lstStyle/>
        <a:p>
          <a:endParaRPr lang="en-ID"/>
        </a:p>
      </dgm:t>
    </dgm:pt>
    <dgm:pt modelId="{34FADE83-FCE7-44B4-BA09-38AFC430ECE3}">
      <dgm:prSet phldrT="[Text]" custT="1"/>
      <dgm:spPr/>
      <dgm:t>
        <a:bodyPr/>
        <a:lstStyle/>
        <a:p>
          <a:r>
            <a:rPr lang="en-US" sz="2000" dirty="0"/>
            <a:t>PSIKIATER</a:t>
          </a:r>
          <a:endParaRPr lang="en-ID" sz="2000" dirty="0"/>
        </a:p>
      </dgm:t>
    </dgm:pt>
    <dgm:pt modelId="{6E33778D-20D2-47A8-80CF-9C0720A6390F}" type="parTrans" cxnId="{B864BD3A-7757-48AB-8004-D6F185B94B87}">
      <dgm:prSet/>
      <dgm:spPr/>
      <dgm:t>
        <a:bodyPr/>
        <a:lstStyle/>
        <a:p>
          <a:endParaRPr lang="en-ID"/>
        </a:p>
      </dgm:t>
    </dgm:pt>
    <dgm:pt modelId="{32624222-49BD-400F-9444-E4D5B7C4211C}" type="sibTrans" cxnId="{B864BD3A-7757-48AB-8004-D6F185B94B87}">
      <dgm:prSet/>
      <dgm:spPr/>
      <dgm:t>
        <a:bodyPr/>
        <a:lstStyle/>
        <a:p>
          <a:endParaRPr lang="en-ID"/>
        </a:p>
      </dgm:t>
    </dgm:pt>
    <dgm:pt modelId="{585B620B-C575-45D0-87D9-A9F149050388}" type="pres">
      <dgm:prSet presAssocID="{4413F2B4-6B2D-4B53-AF6C-49F2D263B1B7}" presName="arrowDiagram" presStyleCnt="0">
        <dgm:presLayoutVars>
          <dgm:chMax val="5"/>
          <dgm:dir/>
          <dgm:resizeHandles val="exact"/>
        </dgm:presLayoutVars>
      </dgm:prSet>
      <dgm:spPr/>
    </dgm:pt>
    <dgm:pt modelId="{2A062590-0037-4B3D-A8FA-E053CAA7DF54}" type="pres">
      <dgm:prSet presAssocID="{4413F2B4-6B2D-4B53-AF6C-49F2D263B1B7}" presName="arrow" presStyleLbl="bgShp" presStyleIdx="0" presStyleCnt="1" custLinFactNeighborY="18806"/>
      <dgm:spPr/>
    </dgm:pt>
    <dgm:pt modelId="{0683A80B-C539-4B22-B6B0-0A032B84E726}" type="pres">
      <dgm:prSet presAssocID="{4413F2B4-6B2D-4B53-AF6C-49F2D263B1B7}" presName="arrowDiagram3" presStyleCnt="0"/>
      <dgm:spPr/>
    </dgm:pt>
    <dgm:pt modelId="{627F0D63-7ED1-4AC1-8099-282537B09887}" type="pres">
      <dgm:prSet presAssocID="{5B27DC1E-C79A-4492-B097-52C422C3EDCB}" presName="bullet3a" presStyleLbl="node1" presStyleIdx="0" presStyleCnt="3" custLinFactNeighborX="58340" custLinFactNeighborY="24308"/>
      <dgm:spPr/>
    </dgm:pt>
    <dgm:pt modelId="{2150534F-0143-4401-B862-4699D62E0C24}" type="pres">
      <dgm:prSet presAssocID="{5B27DC1E-C79A-4492-B097-52C422C3EDCB}" presName="textBox3a" presStyleLbl="revTx" presStyleIdx="0" presStyleCnt="3" custScaleY="88865" custLinFactNeighborX="15733" custLinFactNeighborY="4199">
        <dgm:presLayoutVars>
          <dgm:bulletEnabled val="1"/>
        </dgm:presLayoutVars>
      </dgm:prSet>
      <dgm:spPr/>
    </dgm:pt>
    <dgm:pt modelId="{1AF440EC-5A2E-4A5E-944D-025FCD23E8A6}" type="pres">
      <dgm:prSet presAssocID="{A3F41090-82EB-4930-A100-4A445A8986C7}" presName="bullet3b" presStyleLbl="node1" presStyleIdx="1" presStyleCnt="3" custLinFactNeighborY="48074"/>
      <dgm:spPr/>
    </dgm:pt>
    <dgm:pt modelId="{47B9C832-CA51-4403-ACD2-F4E48BC2BB19}" type="pres">
      <dgm:prSet presAssocID="{A3F41090-82EB-4930-A100-4A445A8986C7}" presName="textBox3b" presStyleLbl="revTx" presStyleIdx="1" presStyleCnt="3" custScaleY="83252" custLinFactNeighborX="5794" custLinFactNeighborY="15426">
        <dgm:presLayoutVars>
          <dgm:bulletEnabled val="1"/>
        </dgm:presLayoutVars>
      </dgm:prSet>
      <dgm:spPr/>
    </dgm:pt>
    <dgm:pt modelId="{BDF35764-8ECD-4F52-B75E-374714591D86}" type="pres">
      <dgm:prSet presAssocID="{34FADE83-FCE7-44B4-BA09-38AFC430ECE3}" presName="bullet3c" presStyleLbl="node1" presStyleIdx="2" presStyleCnt="3" custLinFactNeighborX="7779" custLinFactNeighborY="19447"/>
      <dgm:spPr/>
    </dgm:pt>
    <dgm:pt modelId="{590153A0-86EE-44DF-B8B0-5D631E645C17}" type="pres">
      <dgm:prSet presAssocID="{34FADE83-FCE7-44B4-BA09-38AFC430ECE3}" presName="textBox3c" presStyleLbl="revTx" presStyleIdx="2" presStyleCnt="3" custScaleY="60886">
        <dgm:presLayoutVars>
          <dgm:bulletEnabled val="1"/>
        </dgm:presLayoutVars>
      </dgm:prSet>
      <dgm:spPr/>
    </dgm:pt>
  </dgm:ptLst>
  <dgm:cxnLst>
    <dgm:cxn modelId="{3C97F412-CE09-4436-B2D4-378AEB1B4322}" type="presOf" srcId="{A3F41090-82EB-4930-A100-4A445A8986C7}" destId="{47B9C832-CA51-4403-ACD2-F4E48BC2BB19}" srcOrd="0" destOrd="0" presId="urn:microsoft.com/office/officeart/2005/8/layout/arrow2"/>
    <dgm:cxn modelId="{B864BD3A-7757-48AB-8004-D6F185B94B87}" srcId="{4413F2B4-6B2D-4B53-AF6C-49F2D263B1B7}" destId="{34FADE83-FCE7-44B4-BA09-38AFC430ECE3}" srcOrd="2" destOrd="0" parTransId="{6E33778D-20D2-47A8-80CF-9C0720A6390F}" sibTransId="{32624222-49BD-400F-9444-E4D5B7C4211C}"/>
    <dgm:cxn modelId="{B14BF55A-F603-4578-AB8E-56B493C048AE}" type="presOf" srcId="{4413F2B4-6B2D-4B53-AF6C-49F2D263B1B7}" destId="{585B620B-C575-45D0-87D9-A9F149050388}" srcOrd="0" destOrd="0" presId="urn:microsoft.com/office/officeart/2005/8/layout/arrow2"/>
    <dgm:cxn modelId="{EC77F79A-D09A-4F30-9D68-45B2E71BD96B}" srcId="{4413F2B4-6B2D-4B53-AF6C-49F2D263B1B7}" destId="{A3F41090-82EB-4930-A100-4A445A8986C7}" srcOrd="1" destOrd="0" parTransId="{9355FA55-4331-41FD-AD5D-4F2919C00D4E}" sibTransId="{B0C070B4-B377-48A8-835B-FAF623B65D83}"/>
    <dgm:cxn modelId="{3BA02BB3-6D77-488C-AD45-92600BE54D2B}" srcId="{4413F2B4-6B2D-4B53-AF6C-49F2D263B1B7}" destId="{5B27DC1E-C79A-4492-B097-52C422C3EDCB}" srcOrd="0" destOrd="0" parTransId="{D0D3CBE3-2A92-4F9E-9029-16BB96B54F71}" sibTransId="{AEBC4A4A-BA85-420A-9ED0-CA1796ECD3E0}"/>
    <dgm:cxn modelId="{6645B9BD-738F-4593-B3B4-836B472B5AEF}" type="presOf" srcId="{34FADE83-FCE7-44B4-BA09-38AFC430ECE3}" destId="{590153A0-86EE-44DF-B8B0-5D631E645C17}" srcOrd="0" destOrd="0" presId="urn:microsoft.com/office/officeart/2005/8/layout/arrow2"/>
    <dgm:cxn modelId="{4324E4E5-B586-4C15-82EE-B31C2F484D24}" type="presOf" srcId="{5B27DC1E-C79A-4492-B097-52C422C3EDCB}" destId="{2150534F-0143-4401-B862-4699D62E0C24}" srcOrd="0" destOrd="0" presId="urn:microsoft.com/office/officeart/2005/8/layout/arrow2"/>
    <dgm:cxn modelId="{F637DAB6-4F20-4D9E-95CF-1820C1AF566E}" type="presParOf" srcId="{585B620B-C575-45D0-87D9-A9F149050388}" destId="{2A062590-0037-4B3D-A8FA-E053CAA7DF54}" srcOrd="0" destOrd="0" presId="urn:microsoft.com/office/officeart/2005/8/layout/arrow2"/>
    <dgm:cxn modelId="{261A40D1-D09D-4196-BD02-6F80936776D0}" type="presParOf" srcId="{585B620B-C575-45D0-87D9-A9F149050388}" destId="{0683A80B-C539-4B22-B6B0-0A032B84E726}" srcOrd="1" destOrd="0" presId="urn:microsoft.com/office/officeart/2005/8/layout/arrow2"/>
    <dgm:cxn modelId="{330D63FE-15A1-4F25-803C-98395B2105B0}" type="presParOf" srcId="{0683A80B-C539-4B22-B6B0-0A032B84E726}" destId="{627F0D63-7ED1-4AC1-8099-282537B09887}" srcOrd="0" destOrd="0" presId="urn:microsoft.com/office/officeart/2005/8/layout/arrow2"/>
    <dgm:cxn modelId="{CBA4A1FC-87C1-4CCE-8D6D-9E8ACEC61363}" type="presParOf" srcId="{0683A80B-C539-4B22-B6B0-0A032B84E726}" destId="{2150534F-0143-4401-B862-4699D62E0C24}" srcOrd="1" destOrd="0" presId="urn:microsoft.com/office/officeart/2005/8/layout/arrow2"/>
    <dgm:cxn modelId="{F3ABD2FF-9661-41AA-AC29-CCEC0319DB98}" type="presParOf" srcId="{0683A80B-C539-4B22-B6B0-0A032B84E726}" destId="{1AF440EC-5A2E-4A5E-944D-025FCD23E8A6}" srcOrd="2" destOrd="0" presId="urn:microsoft.com/office/officeart/2005/8/layout/arrow2"/>
    <dgm:cxn modelId="{5A427D5A-5098-46FB-B70A-CB107BE28C8C}" type="presParOf" srcId="{0683A80B-C539-4B22-B6B0-0A032B84E726}" destId="{47B9C832-CA51-4403-ACD2-F4E48BC2BB19}" srcOrd="3" destOrd="0" presId="urn:microsoft.com/office/officeart/2005/8/layout/arrow2"/>
    <dgm:cxn modelId="{7715A362-D086-4384-B862-E09DFFF4B996}" type="presParOf" srcId="{0683A80B-C539-4B22-B6B0-0A032B84E726}" destId="{BDF35764-8ECD-4F52-B75E-374714591D86}" srcOrd="4" destOrd="0" presId="urn:microsoft.com/office/officeart/2005/8/layout/arrow2"/>
    <dgm:cxn modelId="{474AE046-46CC-4742-AD0E-9CF1650DD8B9}" type="presParOf" srcId="{0683A80B-C539-4B22-B6B0-0A032B84E726}" destId="{590153A0-86EE-44DF-B8B0-5D631E645C17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C4CFB2-8675-4770-B3BE-F74C113FD3A6}" type="doc">
      <dgm:prSet loTypeId="urn:microsoft.com/office/officeart/2005/8/layout/h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ID"/>
        </a:p>
      </dgm:t>
    </dgm:pt>
    <dgm:pt modelId="{510FD4AD-7EE9-4443-BE69-7258A6898131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PSIKIATER</a:t>
          </a:r>
          <a:endParaRPr lang="en-ID" dirty="0"/>
        </a:p>
      </dgm:t>
    </dgm:pt>
    <dgm:pt modelId="{A39172E5-7E08-462C-8069-370F2A3BCCE9}" type="parTrans" cxnId="{E57278F5-73F0-4417-AB41-46FE0C953FDA}">
      <dgm:prSet/>
      <dgm:spPr/>
      <dgm:t>
        <a:bodyPr/>
        <a:lstStyle/>
        <a:p>
          <a:endParaRPr lang="en-ID"/>
        </a:p>
      </dgm:t>
    </dgm:pt>
    <dgm:pt modelId="{D15EBA90-D9AA-4721-99A5-77E8687CC215}" type="sibTrans" cxnId="{E57278F5-73F0-4417-AB41-46FE0C953FDA}">
      <dgm:prSet/>
      <dgm:spPr/>
      <dgm:t>
        <a:bodyPr/>
        <a:lstStyle/>
        <a:p>
          <a:endParaRPr lang="en-ID"/>
        </a:p>
      </dgm:t>
    </dgm:pt>
    <dgm:pt modelId="{5E9CBAB6-CCF6-482C-97BD-B66DE4C6BBFD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</a:t>
          </a:r>
          <a:r>
            <a:rPr lang="en-US" sz="1800" dirty="0" err="1"/>
            <a:t>jadwal</a:t>
          </a:r>
          <a:r>
            <a:rPr lang="en-US" sz="1800" dirty="0"/>
            <a:t> Meet Up </a:t>
          </a:r>
          <a:r>
            <a:rPr lang="en-US" sz="1800" dirty="0" err="1"/>
            <a:t>dengan</a:t>
          </a:r>
          <a:r>
            <a:rPr lang="en-US" sz="1800" dirty="0"/>
            <a:t> </a:t>
          </a:r>
          <a:r>
            <a:rPr lang="en-US" sz="1800" dirty="0" err="1"/>
            <a:t>pasien</a:t>
          </a:r>
          <a:endParaRPr lang="en-ID" sz="1800" dirty="0"/>
        </a:p>
      </dgm:t>
    </dgm:pt>
    <dgm:pt modelId="{9929338E-9844-4A5C-8D9B-97B2EB17FD9C}" type="parTrans" cxnId="{8E75873C-25C2-4E58-840A-9025A5AF6542}">
      <dgm:prSet/>
      <dgm:spPr/>
      <dgm:t>
        <a:bodyPr/>
        <a:lstStyle/>
        <a:p>
          <a:endParaRPr lang="en-ID"/>
        </a:p>
      </dgm:t>
    </dgm:pt>
    <dgm:pt modelId="{D51B4D3C-D3A6-454A-927B-3D3554AF341E}" type="sibTrans" cxnId="{8E75873C-25C2-4E58-840A-9025A5AF6542}">
      <dgm:prSet/>
      <dgm:spPr/>
      <dgm:t>
        <a:bodyPr/>
        <a:lstStyle/>
        <a:p>
          <a:endParaRPr lang="en-ID"/>
        </a:p>
      </dgm:t>
    </dgm:pt>
    <dgm:pt modelId="{D1B6B361-E2BF-436E-92D9-84FC16E98812}">
      <dgm:prSet phldrT="[Text]" custT="1"/>
      <dgm:spPr/>
      <dgm:t>
        <a:bodyPr/>
        <a:lstStyle/>
        <a:p>
          <a:r>
            <a:rPr lang="en-US" sz="1800" dirty="0" err="1"/>
            <a:t>Menerima</a:t>
          </a:r>
          <a:r>
            <a:rPr lang="en-US" sz="1800" dirty="0"/>
            <a:t> request </a:t>
          </a:r>
          <a:r>
            <a:rPr lang="en-US" sz="1800" dirty="0" err="1"/>
            <a:t>konseling</a:t>
          </a:r>
          <a:r>
            <a:rPr lang="en-US" sz="1800" dirty="0"/>
            <a:t> yang </a:t>
          </a:r>
          <a:r>
            <a:rPr lang="en-US" sz="1800" dirty="0" err="1"/>
            <a:t>dipilih</a:t>
          </a:r>
          <a:r>
            <a:rPr lang="en-US" sz="1800" dirty="0"/>
            <a:t> oleh Main User</a:t>
          </a:r>
          <a:endParaRPr lang="en-ID" sz="1800" dirty="0"/>
        </a:p>
      </dgm:t>
    </dgm:pt>
    <dgm:pt modelId="{0AA111CD-B26C-42F2-B4E6-24B5DFE474E9}" type="parTrans" cxnId="{D41DD5B1-9754-4ACA-A9CE-7C868320C2B2}">
      <dgm:prSet/>
      <dgm:spPr/>
      <dgm:t>
        <a:bodyPr/>
        <a:lstStyle/>
        <a:p>
          <a:endParaRPr lang="en-ID"/>
        </a:p>
      </dgm:t>
    </dgm:pt>
    <dgm:pt modelId="{DF39BD9A-BFDB-44F0-A587-89010044B40A}" type="sibTrans" cxnId="{D41DD5B1-9754-4ACA-A9CE-7C868320C2B2}">
      <dgm:prSet/>
      <dgm:spPr/>
      <dgm:t>
        <a:bodyPr/>
        <a:lstStyle/>
        <a:p>
          <a:endParaRPr lang="en-ID"/>
        </a:p>
      </dgm:t>
    </dgm:pt>
    <dgm:pt modelId="{11942ABA-CB9F-4422-AE41-3FF7EE54BB57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dirty="0"/>
            <a:t>MAHASISWA</a:t>
          </a:r>
          <a:endParaRPr lang="en-ID" dirty="0"/>
        </a:p>
      </dgm:t>
    </dgm:pt>
    <dgm:pt modelId="{55E35190-E213-420A-9FD4-AD281C0E2D91}" type="parTrans" cxnId="{64248DAC-7BEF-4E6C-9B4A-6963FE3E7490}">
      <dgm:prSet/>
      <dgm:spPr/>
      <dgm:t>
        <a:bodyPr/>
        <a:lstStyle/>
        <a:p>
          <a:endParaRPr lang="en-ID"/>
        </a:p>
      </dgm:t>
    </dgm:pt>
    <dgm:pt modelId="{3A5867FF-BB5E-4A01-91EF-11BEECD0ADEB}" type="sibTrans" cxnId="{64248DAC-7BEF-4E6C-9B4A-6963FE3E7490}">
      <dgm:prSet/>
      <dgm:spPr/>
      <dgm:t>
        <a:bodyPr/>
        <a:lstStyle/>
        <a:p>
          <a:endParaRPr lang="en-ID"/>
        </a:p>
      </dgm:t>
    </dgm:pt>
    <dgm:pt modelId="{4EFCA8D0-02EC-4738-A6FD-E0BF0804DA57}">
      <dgm:prSet phldrT="[Text]" custT="1"/>
      <dgm:spPr/>
      <dgm:t>
        <a:bodyPr/>
        <a:lstStyle/>
        <a:p>
          <a:r>
            <a:rPr lang="en-US" sz="1800" dirty="0" err="1"/>
            <a:t>Memberikan</a:t>
          </a:r>
          <a:r>
            <a:rPr lang="en-US" sz="1800" dirty="0"/>
            <a:t> </a:t>
          </a:r>
          <a:r>
            <a:rPr lang="en-US" sz="1800" dirty="0" err="1"/>
            <a:t>konseling</a:t>
          </a:r>
          <a:r>
            <a:rPr lang="en-US" sz="1800" dirty="0"/>
            <a:t> </a:t>
          </a:r>
          <a:r>
            <a:rPr lang="en-US" sz="1800" dirty="0" err="1"/>
            <a:t>terbatas</a:t>
          </a:r>
          <a:r>
            <a:rPr lang="en-US" sz="1800" dirty="0"/>
            <a:t> </a:t>
          </a:r>
          <a:r>
            <a:rPr lang="en-US" sz="1800" dirty="0" err="1"/>
            <a:t>dengan</a:t>
          </a:r>
          <a:r>
            <a:rPr lang="en-US" sz="1800" dirty="0"/>
            <a:t> main user</a:t>
          </a:r>
          <a:endParaRPr lang="en-ID" sz="1800" dirty="0"/>
        </a:p>
      </dgm:t>
    </dgm:pt>
    <dgm:pt modelId="{19138868-E1EA-403B-A680-D90AAB4322DE}" type="parTrans" cxnId="{6E1593B1-A347-4439-AAE0-137240ACF427}">
      <dgm:prSet/>
      <dgm:spPr/>
      <dgm:t>
        <a:bodyPr/>
        <a:lstStyle/>
        <a:p>
          <a:endParaRPr lang="en-ID"/>
        </a:p>
      </dgm:t>
    </dgm:pt>
    <dgm:pt modelId="{3246E8EF-616E-4AF8-9F0B-900971F6A4BA}" type="sibTrans" cxnId="{6E1593B1-A347-4439-AAE0-137240ACF427}">
      <dgm:prSet/>
      <dgm:spPr/>
      <dgm:t>
        <a:bodyPr/>
        <a:lstStyle/>
        <a:p>
          <a:endParaRPr lang="en-ID"/>
        </a:p>
      </dgm:t>
    </dgm:pt>
    <dgm:pt modelId="{C399A8A8-F158-43F1-AC53-72E2A4791314}">
      <dgm:prSet phldrT="[Text]" custT="1"/>
      <dgm:spPr/>
      <dgm:t>
        <a:bodyPr/>
        <a:lstStyle/>
        <a:p>
          <a:r>
            <a:rPr lang="en-US" sz="1800" dirty="0" err="1"/>
            <a:t>Melakukan</a:t>
          </a:r>
          <a:r>
            <a:rPr lang="en-US" sz="1800" dirty="0"/>
            <a:t> </a:t>
          </a:r>
          <a:r>
            <a:rPr lang="en-US" sz="1800" dirty="0" err="1"/>
            <a:t>riset</a:t>
          </a:r>
          <a:r>
            <a:rPr lang="en-US" sz="1800" dirty="0"/>
            <a:t> </a:t>
          </a:r>
          <a:r>
            <a:rPr lang="en-US" sz="1800" dirty="0" err="1"/>
            <a:t>konseling</a:t>
          </a:r>
          <a:r>
            <a:rPr lang="en-US" sz="1800" dirty="0"/>
            <a:t> </a:t>
          </a:r>
          <a:r>
            <a:rPr lang="en-US" sz="1800" dirty="0" err="1"/>
            <a:t>dengan</a:t>
          </a:r>
          <a:r>
            <a:rPr lang="en-US" sz="1800" dirty="0"/>
            <a:t> main user</a:t>
          </a:r>
          <a:endParaRPr lang="en-ID" sz="1800" dirty="0"/>
        </a:p>
      </dgm:t>
    </dgm:pt>
    <dgm:pt modelId="{E812AB38-DD19-46B7-9C64-EEFE29608E06}" type="parTrans" cxnId="{3BCC2F8B-344F-43C6-A91F-B52C7B1FE06A}">
      <dgm:prSet/>
      <dgm:spPr/>
      <dgm:t>
        <a:bodyPr/>
        <a:lstStyle/>
        <a:p>
          <a:endParaRPr lang="en-ID"/>
        </a:p>
      </dgm:t>
    </dgm:pt>
    <dgm:pt modelId="{5E5E0B72-B668-4138-A295-034931471BA5}" type="sibTrans" cxnId="{3BCC2F8B-344F-43C6-A91F-B52C7B1FE06A}">
      <dgm:prSet/>
      <dgm:spPr/>
      <dgm:t>
        <a:bodyPr/>
        <a:lstStyle/>
        <a:p>
          <a:endParaRPr lang="en-ID"/>
        </a:p>
      </dgm:t>
    </dgm:pt>
    <dgm:pt modelId="{6C62B298-7247-4C5E-9004-4B453E20E17E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dirty="0"/>
            <a:t>MAIN USER</a:t>
          </a:r>
          <a:endParaRPr lang="en-ID" dirty="0"/>
        </a:p>
      </dgm:t>
    </dgm:pt>
    <dgm:pt modelId="{9B2D3CB3-21C3-4184-9777-C192ABE7A262}" type="parTrans" cxnId="{F98342D1-1BD9-4ED3-9BDD-9261F5F9122E}">
      <dgm:prSet/>
      <dgm:spPr/>
      <dgm:t>
        <a:bodyPr/>
        <a:lstStyle/>
        <a:p>
          <a:endParaRPr lang="en-ID"/>
        </a:p>
      </dgm:t>
    </dgm:pt>
    <dgm:pt modelId="{9E68079E-D5FE-4B9D-A96A-D9A28E0DC3ED}" type="sibTrans" cxnId="{F98342D1-1BD9-4ED3-9BDD-9261F5F9122E}">
      <dgm:prSet/>
      <dgm:spPr/>
      <dgm:t>
        <a:bodyPr/>
        <a:lstStyle/>
        <a:p>
          <a:endParaRPr lang="en-ID"/>
        </a:p>
      </dgm:t>
    </dgm:pt>
    <dgm:pt modelId="{9753F862-838E-46DD-8EC7-9F0EF44F9DAC}">
      <dgm:prSet phldrT="[Text]" custT="1"/>
      <dgm:spPr/>
      <dgm:t>
        <a:bodyPr/>
        <a:lstStyle/>
        <a:p>
          <a:r>
            <a:rPr lang="en-US" sz="1800" dirty="0" err="1"/>
            <a:t>Melakukan</a:t>
          </a:r>
          <a:r>
            <a:rPr lang="en-US" sz="1800" dirty="0"/>
            <a:t> request </a:t>
          </a:r>
          <a:r>
            <a:rPr lang="en-US" sz="1800" dirty="0" err="1"/>
            <a:t>konseling</a:t>
          </a:r>
          <a:r>
            <a:rPr lang="en-US" sz="1800" dirty="0"/>
            <a:t> </a:t>
          </a:r>
          <a:r>
            <a:rPr lang="en-US" sz="1800" dirty="0" err="1"/>
            <a:t>dengan</a:t>
          </a:r>
          <a:r>
            <a:rPr lang="en-US" sz="1800" dirty="0"/>
            <a:t> </a:t>
          </a:r>
          <a:r>
            <a:rPr lang="en-US" sz="1800" dirty="0" err="1"/>
            <a:t>Psikiater</a:t>
          </a:r>
          <a:r>
            <a:rPr lang="en-US" sz="1800" dirty="0"/>
            <a:t> dan </a:t>
          </a:r>
          <a:r>
            <a:rPr lang="en-US" sz="1800" dirty="0" err="1"/>
            <a:t>Mahasiswa</a:t>
          </a:r>
          <a:endParaRPr lang="en-ID" sz="1800" dirty="0"/>
        </a:p>
      </dgm:t>
    </dgm:pt>
    <dgm:pt modelId="{A779867C-4DE0-4B53-96C3-EB5E68D2D0DE}" type="parTrans" cxnId="{2EEF10C1-562B-42EB-9D68-26DBF7B84F77}">
      <dgm:prSet/>
      <dgm:spPr/>
      <dgm:t>
        <a:bodyPr/>
        <a:lstStyle/>
        <a:p>
          <a:endParaRPr lang="en-ID"/>
        </a:p>
      </dgm:t>
    </dgm:pt>
    <dgm:pt modelId="{9CC18D73-70A5-4833-89BF-057773254630}" type="sibTrans" cxnId="{2EEF10C1-562B-42EB-9D68-26DBF7B84F77}">
      <dgm:prSet/>
      <dgm:spPr/>
      <dgm:t>
        <a:bodyPr/>
        <a:lstStyle/>
        <a:p>
          <a:endParaRPr lang="en-ID"/>
        </a:p>
      </dgm:t>
    </dgm:pt>
    <dgm:pt modelId="{51CB358D-2F90-43F1-B4C2-721F8BE3C834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forum </a:t>
          </a:r>
          <a:r>
            <a:rPr lang="en-US" sz="1800" dirty="0" err="1"/>
            <a:t>diskusi</a:t>
          </a:r>
          <a:r>
            <a:rPr lang="en-US" sz="1800" dirty="0"/>
            <a:t> </a:t>
          </a:r>
          <a:r>
            <a:rPr lang="en-US" sz="1800" dirty="0" err="1"/>
            <a:t>terbuka</a:t>
          </a:r>
          <a:r>
            <a:rPr lang="en-US" sz="1800" dirty="0"/>
            <a:t> di </a:t>
          </a:r>
          <a:r>
            <a:rPr lang="en-US" sz="1800" dirty="0" err="1"/>
            <a:t>fitur</a:t>
          </a:r>
          <a:r>
            <a:rPr lang="en-US" sz="1800" dirty="0"/>
            <a:t> Mind Map</a:t>
          </a:r>
          <a:endParaRPr lang="en-ID" sz="1800" dirty="0"/>
        </a:p>
      </dgm:t>
    </dgm:pt>
    <dgm:pt modelId="{61E8FE84-13AA-40C9-A604-4D900379C5ED}" type="parTrans" cxnId="{D7A4C0CE-1A88-43A7-8821-6AE17990B12B}">
      <dgm:prSet/>
      <dgm:spPr/>
      <dgm:t>
        <a:bodyPr/>
        <a:lstStyle/>
        <a:p>
          <a:endParaRPr lang="en-ID"/>
        </a:p>
      </dgm:t>
    </dgm:pt>
    <dgm:pt modelId="{B1D19FC5-62F9-4458-A5B0-491A113467F8}" type="sibTrans" cxnId="{D7A4C0CE-1A88-43A7-8821-6AE17990B12B}">
      <dgm:prSet/>
      <dgm:spPr/>
      <dgm:t>
        <a:bodyPr/>
        <a:lstStyle/>
        <a:p>
          <a:endParaRPr lang="en-ID"/>
        </a:p>
      </dgm:t>
    </dgm:pt>
    <dgm:pt modelId="{8512A62C-922D-4AD1-864B-E7724507C4DE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</a:t>
          </a:r>
          <a:r>
            <a:rPr lang="en-US" sz="1800" dirty="0" err="1"/>
            <a:t>jadwal</a:t>
          </a:r>
          <a:r>
            <a:rPr lang="en-US" sz="1800" dirty="0"/>
            <a:t> webinar </a:t>
          </a:r>
          <a:r>
            <a:rPr lang="en-US" sz="1800" dirty="0" err="1"/>
            <a:t>terbuka</a:t>
          </a:r>
          <a:r>
            <a:rPr lang="en-US" sz="1800" dirty="0"/>
            <a:t> </a:t>
          </a:r>
          <a:r>
            <a:rPr lang="en-US" sz="1800" dirty="0" err="1"/>
            <a:t>untuk</a:t>
          </a:r>
          <a:r>
            <a:rPr lang="en-US" sz="1800" dirty="0"/>
            <a:t> </a:t>
          </a:r>
          <a:r>
            <a:rPr lang="en-US" sz="1800" dirty="0" err="1"/>
            <a:t>Mahasiswa</a:t>
          </a:r>
          <a:r>
            <a:rPr lang="en-US" sz="1800" dirty="0"/>
            <a:t> dan Main User</a:t>
          </a:r>
          <a:endParaRPr lang="en-ID" sz="1800" dirty="0"/>
        </a:p>
      </dgm:t>
    </dgm:pt>
    <dgm:pt modelId="{8D3C3591-3D96-4DEC-A53A-FA7BF88A28A5}" type="parTrans" cxnId="{116E4C13-04D2-41D9-A888-92AB97105162}">
      <dgm:prSet/>
      <dgm:spPr/>
      <dgm:t>
        <a:bodyPr/>
        <a:lstStyle/>
        <a:p>
          <a:endParaRPr lang="en-ID"/>
        </a:p>
      </dgm:t>
    </dgm:pt>
    <dgm:pt modelId="{03E9EE9D-49E1-4830-922E-CE4AAF40167E}" type="sibTrans" cxnId="{116E4C13-04D2-41D9-A888-92AB97105162}">
      <dgm:prSet/>
      <dgm:spPr/>
      <dgm:t>
        <a:bodyPr/>
        <a:lstStyle/>
        <a:p>
          <a:endParaRPr lang="en-ID"/>
        </a:p>
      </dgm:t>
    </dgm:pt>
    <dgm:pt modelId="{97CCA657-6DDA-4DCD-ADC2-4096B2141179}">
      <dgm:prSet phldrT="[Text]" custT="1"/>
      <dgm:spPr/>
      <dgm:t>
        <a:bodyPr/>
        <a:lstStyle/>
        <a:p>
          <a:r>
            <a:rPr lang="en-US" sz="1800" dirty="0" err="1"/>
            <a:t>Menerima</a:t>
          </a:r>
          <a:r>
            <a:rPr lang="en-US" sz="1800" dirty="0"/>
            <a:t> </a:t>
          </a:r>
          <a:r>
            <a:rPr lang="en-US" sz="1800" dirty="0" err="1"/>
            <a:t>insentif</a:t>
          </a:r>
          <a:r>
            <a:rPr lang="en-US" sz="1800" dirty="0"/>
            <a:t> </a:t>
          </a:r>
          <a:r>
            <a:rPr lang="en-US" sz="1800" dirty="0" err="1"/>
            <a:t>konseling</a:t>
          </a:r>
          <a:r>
            <a:rPr lang="en-US" sz="1800" dirty="0"/>
            <a:t> </a:t>
          </a:r>
          <a:endParaRPr lang="en-ID" sz="1800" dirty="0"/>
        </a:p>
      </dgm:t>
    </dgm:pt>
    <dgm:pt modelId="{27F98DCB-1B4D-405E-A4F0-0E5294138B15}" type="parTrans" cxnId="{1126606C-D0D7-482F-811D-47FEF5D15B81}">
      <dgm:prSet/>
      <dgm:spPr/>
      <dgm:t>
        <a:bodyPr/>
        <a:lstStyle/>
        <a:p>
          <a:endParaRPr lang="en-ID"/>
        </a:p>
      </dgm:t>
    </dgm:pt>
    <dgm:pt modelId="{196AB97F-61B3-4BFE-97F3-90AB7A7FB82E}" type="sibTrans" cxnId="{1126606C-D0D7-482F-811D-47FEF5D15B81}">
      <dgm:prSet/>
      <dgm:spPr/>
      <dgm:t>
        <a:bodyPr/>
        <a:lstStyle/>
        <a:p>
          <a:endParaRPr lang="en-ID"/>
        </a:p>
      </dgm:t>
    </dgm:pt>
    <dgm:pt modelId="{92E97DA1-2925-46FC-ACAD-BD1328A709FB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request </a:t>
          </a:r>
          <a:r>
            <a:rPr lang="en-US" sz="1800" dirty="0" err="1"/>
            <a:t>kolaborasi</a:t>
          </a:r>
          <a:r>
            <a:rPr lang="en-US" sz="1800" dirty="0"/>
            <a:t> webinar Bersama </a:t>
          </a:r>
          <a:r>
            <a:rPr lang="en-US" sz="1800" dirty="0" err="1"/>
            <a:t>Psikiater</a:t>
          </a:r>
          <a:endParaRPr lang="en-ID" sz="1800" dirty="0"/>
        </a:p>
      </dgm:t>
    </dgm:pt>
    <dgm:pt modelId="{56424186-B64B-4F40-B0DF-A88C32FCD64A}" type="parTrans" cxnId="{BEB8DA07-7C56-4249-9820-F96DA106A20F}">
      <dgm:prSet/>
      <dgm:spPr/>
      <dgm:t>
        <a:bodyPr/>
        <a:lstStyle/>
        <a:p>
          <a:endParaRPr lang="en-ID"/>
        </a:p>
      </dgm:t>
    </dgm:pt>
    <dgm:pt modelId="{23E61FA5-C816-4A4B-B3FD-DC9951656FEC}" type="sibTrans" cxnId="{BEB8DA07-7C56-4249-9820-F96DA106A20F}">
      <dgm:prSet/>
      <dgm:spPr/>
      <dgm:t>
        <a:bodyPr/>
        <a:lstStyle/>
        <a:p>
          <a:endParaRPr lang="en-ID"/>
        </a:p>
      </dgm:t>
    </dgm:pt>
    <dgm:pt modelId="{2A321B8E-399E-4541-A96C-D56E89FFA6F1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</a:t>
          </a:r>
          <a:r>
            <a:rPr lang="en-US" sz="1800" dirty="0" err="1"/>
            <a:t>jadwal</a:t>
          </a:r>
          <a:r>
            <a:rPr lang="en-US" sz="1800" dirty="0"/>
            <a:t> webinar </a:t>
          </a:r>
          <a:r>
            <a:rPr lang="en-US" sz="1800" dirty="0" err="1"/>
            <a:t>dengan</a:t>
          </a:r>
          <a:r>
            <a:rPr lang="en-US" sz="1800" dirty="0"/>
            <a:t> </a:t>
          </a:r>
          <a:r>
            <a:rPr lang="en-US" sz="1800" dirty="0" err="1"/>
            <a:t>Psikiater</a:t>
          </a:r>
          <a:endParaRPr lang="en-ID" sz="1800" dirty="0"/>
        </a:p>
      </dgm:t>
    </dgm:pt>
    <dgm:pt modelId="{52492BA6-29D2-47BF-907D-DCAB6E34C42F}" type="parTrans" cxnId="{B47714AE-C6D9-4316-8A5A-CA2ED3DF12F2}">
      <dgm:prSet/>
      <dgm:spPr/>
      <dgm:t>
        <a:bodyPr/>
        <a:lstStyle/>
        <a:p>
          <a:endParaRPr lang="en-ID"/>
        </a:p>
      </dgm:t>
    </dgm:pt>
    <dgm:pt modelId="{58480DE8-A070-4EC5-B0EA-027BE65CD70C}" type="sibTrans" cxnId="{B47714AE-C6D9-4316-8A5A-CA2ED3DF12F2}">
      <dgm:prSet/>
      <dgm:spPr/>
      <dgm:t>
        <a:bodyPr/>
        <a:lstStyle/>
        <a:p>
          <a:endParaRPr lang="en-ID"/>
        </a:p>
      </dgm:t>
    </dgm:pt>
    <dgm:pt modelId="{9B1A39C8-6864-46CF-9184-744C0D369F65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</a:t>
          </a:r>
          <a:r>
            <a:rPr lang="en-US" sz="1800" dirty="0" err="1"/>
            <a:t>komunitas</a:t>
          </a:r>
          <a:r>
            <a:rPr lang="en-US" sz="1800" dirty="0"/>
            <a:t> </a:t>
          </a:r>
          <a:r>
            <a:rPr lang="en-US" sz="1800" dirty="0" err="1"/>
            <a:t>diskusi</a:t>
          </a:r>
          <a:r>
            <a:rPr lang="en-US" sz="1800" dirty="0"/>
            <a:t> </a:t>
          </a:r>
          <a:r>
            <a:rPr lang="en-US" sz="1800" dirty="0" err="1"/>
            <a:t>dengan</a:t>
          </a:r>
          <a:r>
            <a:rPr lang="en-US" sz="1800" dirty="0"/>
            <a:t> </a:t>
          </a:r>
          <a:r>
            <a:rPr lang="en-US" sz="1800" dirty="0" err="1"/>
            <a:t>fitur</a:t>
          </a:r>
          <a:r>
            <a:rPr lang="en-US" sz="1800" dirty="0"/>
            <a:t> Space Labs</a:t>
          </a:r>
          <a:endParaRPr lang="en-ID" sz="1800" dirty="0"/>
        </a:p>
      </dgm:t>
    </dgm:pt>
    <dgm:pt modelId="{0AFEE870-127C-4160-9B7F-D35A1F7DC91F}" type="parTrans" cxnId="{6F4F0734-0506-4043-841B-F8F74DD96F74}">
      <dgm:prSet/>
      <dgm:spPr/>
      <dgm:t>
        <a:bodyPr/>
        <a:lstStyle/>
        <a:p>
          <a:endParaRPr lang="en-ID"/>
        </a:p>
      </dgm:t>
    </dgm:pt>
    <dgm:pt modelId="{C8A3497F-313A-4E8C-B270-52B981139127}" type="sibTrans" cxnId="{6F4F0734-0506-4043-841B-F8F74DD96F74}">
      <dgm:prSet/>
      <dgm:spPr/>
      <dgm:t>
        <a:bodyPr/>
        <a:lstStyle/>
        <a:p>
          <a:endParaRPr lang="en-ID"/>
        </a:p>
      </dgm:t>
    </dgm:pt>
    <dgm:pt modelId="{FA9A6E02-E299-4982-B84E-040F27B32FE0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</a:t>
          </a:r>
          <a:r>
            <a:rPr lang="en-US" sz="1800" dirty="0" err="1"/>
            <a:t>komunitas</a:t>
          </a:r>
          <a:r>
            <a:rPr lang="en-US" sz="1800" dirty="0"/>
            <a:t> </a:t>
          </a:r>
          <a:r>
            <a:rPr lang="en-US" sz="1800" dirty="0" err="1"/>
            <a:t>diskusi</a:t>
          </a:r>
          <a:r>
            <a:rPr lang="en-US" sz="1800" dirty="0"/>
            <a:t> </a:t>
          </a:r>
          <a:r>
            <a:rPr lang="en-US" sz="1800" dirty="0" err="1"/>
            <a:t>dengan</a:t>
          </a:r>
          <a:r>
            <a:rPr lang="en-US" sz="1800" dirty="0"/>
            <a:t> </a:t>
          </a:r>
          <a:r>
            <a:rPr lang="en-US" sz="1800" dirty="0" err="1"/>
            <a:t>fitur</a:t>
          </a:r>
          <a:r>
            <a:rPr lang="en-US" sz="1800" dirty="0"/>
            <a:t> Space Labs</a:t>
          </a:r>
          <a:endParaRPr lang="en-ID" sz="1800" dirty="0"/>
        </a:p>
      </dgm:t>
    </dgm:pt>
    <dgm:pt modelId="{1D5D4FE9-B461-4079-A14E-7FEA71CCB0EE}" type="parTrans" cxnId="{64B9CA1F-AC33-43C3-BFE6-E4048AACAA21}">
      <dgm:prSet/>
      <dgm:spPr/>
      <dgm:t>
        <a:bodyPr/>
        <a:lstStyle/>
        <a:p>
          <a:endParaRPr lang="en-ID"/>
        </a:p>
      </dgm:t>
    </dgm:pt>
    <dgm:pt modelId="{6C1BE96C-AA25-4ED4-9AC8-E3ACCB2F40C4}" type="sibTrans" cxnId="{64B9CA1F-AC33-43C3-BFE6-E4048AACAA21}">
      <dgm:prSet/>
      <dgm:spPr/>
      <dgm:t>
        <a:bodyPr/>
        <a:lstStyle/>
        <a:p>
          <a:endParaRPr lang="en-ID"/>
        </a:p>
      </dgm:t>
    </dgm:pt>
    <dgm:pt modelId="{A6FEF92A-CD0C-458E-B83D-5C34A334AAE4}">
      <dgm:prSet phldrT="[Text]" custT="1"/>
      <dgm:spPr/>
      <dgm:t>
        <a:bodyPr/>
        <a:lstStyle/>
        <a:p>
          <a:r>
            <a:rPr lang="en-US" sz="1800" dirty="0" err="1"/>
            <a:t>Menikmati</a:t>
          </a:r>
          <a:r>
            <a:rPr lang="en-US" sz="1800" dirty="0"/>
            <a:t> </a:t>
          </a:r>
          <a:r>
            <a:rPr lang="en-US" sz="1800" dirty="0" err="1"/>
            <a:t>fitur</a:t>
          </a:r>
          <a:r>
            <a:rPr lang="en-US" sz="1800" dirty="0"/>
            <a:t> </a:t>
          </a:r>
          <a:r>
            <a:rPr lang="en-US" sz="1800" dirty="0" err="1"/>
            <a:t>layanan</a:t>
          </a:r>
          <a:r>
            <a:rPr lang="en-US" sz="1800" dirty="0"/>
            <a:t> Mastermind</a:t>
          </a:r>
          <a:endParaRPr lang="en-ID" sz="1800" dirty="0"/>
        </a:p>
      </dgm:t>
    </dgm:pt>
    <dgm:pt modelId="{22E19909-DA3F-48C6-B555-A5597F6CC667}" type="parTrans" cxnId="{0D27DFA9-26DD-4B6A-8D1B-D97F519B36E9}">
      <dgm:prSet/>
      <dgm:spPr/>
      <dgm:t>
        <a:bodyPr/>
        <a:lstStyle/>
        <a:p>
          <a:endParaRPr lang="en-ID"/>
        </a:p>
      </dgm:t>
    </dgm:pt>
    <dgm:pt modelId="{0B611B86-B6C0-4020-AA57-2B7E1E7063CB}" type="sibTrans" cxnId="{0D27DFA9-26DD-4B6A-8D1B-D97F519B36E9}">
      <dgm:prSet/>
      <dgm:spPr/>
      <dgm:t>
        <a:bodyPr/>
        <a:lstStyle/>
        <a:p>
          <a:endParaRPr lang="en-ID"/>
        </a:p>
      </dgm:t>
    </dgm:pt>
    <dgm:pt modelId="{1381C246-06B9-4B75-BAD5-1F89816ADD99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forum </a:t>
          </a:r>
          <a:r>
            <a:rPr lang="en-US" sz="1800" dirty="0" err="1"/>
            <a:t>diskusi</a:t>
          </a:r>
          <a:r>
            <a:rPr lang="en-US" sz="1800" dirty="0"/>
            <a:t> </a:t>
          </a:r>
          <a:r>
            <a:rPr lang="en-US" sz="1800" dirty="0" err="1"/>
            <a:t>terbuka</a:t>
          </a:r>
          <a:r>
            <a:rPr lang="en-US" sz="1800" dirty="0"/>
            <a:t> di </a:t>
          </a:r>
          <a:r>
            <a:rPr lang="en-US" sz="1800" dirty="0" err="1"/>
            <a:t>fitur</a:t>
          </a:r>
          <a:r>
            <a:rPr lang="en-US" sz="1800" dirty="0"/>
            <a:t> Mind Map</a:t>
          </a:r>
          <a:endParaRPr lang="en-ID" sz="1800" dirty="0"/>
        </a:p>
      </dgm:t>
    </dgm:pt>
    <dgm:pt modelId="{4D27FE6A-99CF-4204-AE8A-E11EB923BF5B}" type="parTrans" cxnId="{56CD882A-6E9F-49DC-8B73-1A97468B5685}">
      <dgm:prSet/>
      <dgm:spPr/>
      <dgm:t>
        <a:bodyPr/>
        <a:lstStyle/>
        <a:p>
          <a:endParaRPr lang="en-ID"/>
        </a:p>
      </dgm:t>
    </dgm:pt>
    <dgm:pt modelId="{31F7DBD3-1005-463F-BFCD-55C0ADA683F5}" type="sibTrans" cxnId="{56CD882A-6E9F-49DC-8B73-1A97468B5685}">
      <dgm:prSet/>
      <dgm:spPr/>
      <dgm:t>
        <a:bodyPr/>
        <a:lstStyle/>
        <a:p>
          <a:endParaRPr lang="en-ID"/>
        </a:p>
      </dgm:t>
    </dgm:pt>
    <dgm:pt modelId="{0DA57A10-FA21-4396-B33D-0E2BC447406F}">
      <dgm:prSet phldrT="[Text]" custT="1"/>
      <dgm:spPr/>
      <dgm:t>
        <a:bodyPr/>
        <a:lstStyle/>
        <a:p>
          <a:r>
            <a:rPr lang="en-US" sz="1800" dirty="0" err="1"/>
            <a:t>Membuat</a:t>
          </a:r>
          <a:r>
            <a:rPr lang="en-US" sz="1800" dirty="0"/>
            <a:t> forum </a:t>
          </a:r>
          <a:r>
            <a:rPr lang="en-US" sz="1800" dirty="0" err="1"/>
            <a:t>diskusi</a:t>
          </a:r>
          <a:r>
            <a:rPr lang="en-US" sz="1800" dirty="0"/>
            <a:t> </a:t>
          </a:r>
          <a:r>
            <a:rPr lang="en-US" sz="1800" dirty="0" err="1"/>
            <a:t>terbuka</a:t>
          </a:r>
          <a:r>
            <a:rPr lang="en-US" sz="1800" dirty="0"/>
            <a:t> di </a:t>
          </a:r>
          <a:r>
            <a:rPr lang="en-US" sz="1800" dirty="0" err="1"/>
            <a:t>fitur</a:t>
          </a:r>
          <a:r>
            <a:rPr lang="en-US" sz="1800" dirty="0"/>
            <a:t> Mind Map</a:t>
          </a:r>
          <a:endParaRPr lang="en-ID" sz="1800" dirty="0"/>
        </a:p>
      </dgm:t>
    </dgm:pt>
    <dgm:pt modelId="{522EC829-545A-4314-9ED7-4E089404CFE2}" type="parTrans" cxnId="{81DE9CB3-D3BE-40E6-93F6-C45D42AD2E6F}">
      <dgm:prSet/>
      <dgm:spPr/>
      <dgm:t>
        <a:bodyPr/>
        <a:lstStyle/>
        <a:p>
          <a:endParaRPr lang="en-ID"/>
        </a:p>
      </dgm:t>
    </dgm:pt>
    <dgm:pt modelId="{9771353F-CDF7-42F5-87D2-89175978D1F7}" type="sibTrans" cxnId="{81DE9CB3-D3BE-40E6-93F6-C45D42AD2E6F}">
      <dgm:prSet/>
      <dgm:spPr/>
      <dgm:t>
        <a:bodyPr/>
        <a:lstStyle/>
        <a:p>
          <a:endParaRPr lang="en-ID"/>
        </a:p>
      </dgm:t>
    </dgm:pt>
    <dgm:pt modelId="{0789FF19-4B2F-4D50-A716-FFCEDE291182}">
      <dgm:prSet phldrT="[Text]" custT="1"/>
      <dgm:spPr/>
      <dgm:t>
        <a:bodyPr/>
        <a:lstStyle/>
        <a:p>
          <a:endParaRPr lang="en-ID" sz="1800" dirty="0"/>
        </a:p>
      </dgm:t>
    </dgm:pt>
    <dgm:pt modelId="{6524ABDD-89BE-480D-B83E-63DF1944B065}" type="parTrans" cxnId="{235A993A-06A2-43BC-BFB1-040DF54487C6}">
      <dgm:prSet/>
      <dgm:spPr/>
      <dgm:t>
        <a:bodyPr/>
        <a:lstStyle/>
        <a:p>
          <a:endParaRPr lang="en-ID"/>
        </a:p>
      </dgm:t>
    </dgm:pt>
    <dgm:pt modelId="{A5ADD492-0431-48FE-A092-5DB275219F78}" type="sibTrans" cxnId="{235A993A-06A2-43BC-BFB1-040DF54487C6}">
      <dgm:prSet/>
      <dgm:spPr/>
      <dgm:t>
        <a:bodyPr/>
        <a:lstStyle/>
        <a:p>
          <a:endParaRPr lang="en-ID"/>
        </a:p>
      </dgm:t>
    </dgm:pt>
    <dgm:pt modelId="{723DFEE1-6A8A-4BFB-941C-8486FF76BE27}" type="pres">
      <dgm:prSet presAssocID="{7EC4CFB2-8675-4770-B3BE-F74C113FD3A6}" presName="Name0" presStyleCnt="0">
        <dgm:presLayoutVars>
          <dgm:dir/>
          <dgm:animLvl val="lvl"/>
          <dgm:resizeHandles val="exact"/>
        </dgm:presLayoutVars>
      </dgm:prSet>
      <dgm:spPr/>
    </dgm:pt>
    <dgm:pt modelId="{6B7AF3AB-7FED-4740-81A0-CC470573F7C0}" type="pres">
      <dgm:prSet presAssocID="{510FD4AD-7EE9-4443-BE69-7258A6898131}" presName="composite" presStyleCnt="0"/>
      <dgm:spPr/>
    </dgm:pt>
    <dgm:pt modelId="{BBB29D31-0B6B-4409-B7B5-746BA1CACEA8}" type="pres">
      <dgm:prSet presAssocID="{510FD4AD-7EE9-4443-BE69-7258A6898131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47F3C100-BA4A-4088-BBB6-DA1373C17A50}" type="pres">
      <dgm:prSet presAssocID="{510FD4AD-7EE9-4443-BE69-7258A6898131}" presName="desTx" presStyleLbl="alignAccFollowNode1" presStyleIdx="0" presStyleCnt="3">
        <dgm:presLayoutVars>
          <dgm:bulletEnabled val="1"/>
        </dgm:presLayoutVars>
      </dgm:prSet>
      <dgm:spPr/>
    </dgm:pt>
    <dgm:pt modelId="{736E560E-23D2-4340-8217-E798FFDC7E66}" type="pres">
      <dgm:prSet presAssocID="{D15EBA90-D9AA-4721-99A5-77E8687CC215}" presName="space" presStyleCnt="0"/>
      <dgm:spPr/>
    </dgm:pt>
    <dgm:pt modelId="{3401291B-88CE-4374-B1B1-E191C230386E}" type="pres">
      <dgm:prSet presAssocID="{11942ABA-CB9F-4422-AE41-3FF7EE54BB57}" presName="composite" presStyleCnt="0"/>
      <dgm:spPr/>
    </dgm:pt>
    <dgm:pt modelId="{14522C89-E385-4A9A-8838-F3A254444FF9}" type="pres">
      <dgm:prSet presAssocID="{11942ABA-CB9F-4422-AE41-3FF7EE54BB57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AD326282-D0EF-4A94-A712-AB7734854C8C}" type="pres">
      <dgm:prSet presAssocID="{11942ABA-CB9F-4422-AE41-3FF7EE54BB57}" presName="desTx" presStyleLbl="alignAccFollowNode1" presStyleIdx="1" presStyleCnt="3">
        <dgm:presLayoutVars>
          <dgm:bulletEnabled val="1"/>
        </dgm:presLayoutVars>
      </dgm:prSet>
      <dgm:spPr/>
    </dgm:pt>
    <dgm:pt modelId="{32A61E06-65BF-4191-8F86-AEC6CF8F1136}" type="pres">
      <dgm:prSet presAssocID="{3A5867FF-BB5E-4A01-91EF-11BEECD0ADEB}" presName="space" presStyleCnt="0"/>
      <dgm:spPr/>
    </dgm:pt>
    <dgm:pt modelId="{A014634D-F6CA-4BF9-BD26-298E7EDF38D6}" type="pres">
      <dgm:prSet presAssocID="{6C62B298-7247-4C5E-9004-4B453E20E17E}" presName="composite" presStyleCnt="0"/>
      <dgm:spPr/>
    </dgm:pt>
    <dgm:pt modelId="{969099BA-EA5C-49B2-9527-A1E0F882EFA3}" type="pres">
      <dgm:prSet presAssocID="{6C62B298-7247-4C5E-9004-4B453E20E17E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A4E8F572-A4DA-480D-ABE8-7B3C4C56B4CC}" type="pres">
      <dgm:prSet presAssocID="{6C62B298-7247-4C5E-9004-4B453E20E17E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2F8C902-4114-4B91-879A-273D1FC6A7FF}" type="presOf" srcId="{7EC4CFB2-8675-4770-B3BE-F74C113FD3A6}" destId="{723DFEE1-6A8A-4BFB-941C-8486FF76BE27}" srcOrd="0" destOrd="0" presId="urn:microsoft.com/office/officeart/2005/8/layout/hList1"/>
    <dgm:cxn modelId="{BEB8DA07-7C56-4249-9820-F96DA106A20F}" srcId="{11942ABA-CB9F-4422-AE41-3FF7EE54BB57}" destId="{92E97DA1-2925-46FC-ACAD-BD1328A709FB}" srcOrd="2" destOrd="0" parTransId="{56424186-B64B-4F40-B0DF-A88C32FCD64A}" sibTransId="{23E61FA5-C816-4A4B-B3FD-DC9951656FEC}"/>
    <dgm:cxn modelId="{116E4C13-04D2-41D9-A888-92AB97105162}" srcId="{510FD4AD-7EE9-4443-BE69-7258A6898131}" destId="{8512A62C-922D-4AD1-864B-E7724507C4DE}" srcOrd="2" destOrd="0" parTransId="{8D3C3591-3D96-4DEC-A53A-FA7BF88A28A5}" sibTransId="{03E9EE9D-49E1-4830-922E-CE4AAF40167E}"/>
    <dgm:cxn modelId="{64B9CA1F-AC33-43C3-BFE6-E4048AACAA21}" srcId="{510FD4AD-7EE9-4443-BE69-7258A6898131}" destId="{FA9A6E02-E299-4982-B84E-040F27B32FE0}" srcOrd="3" destOrd="0" parTransId="{1D5D4FE9-B461-4079-A14E-7FEA71CCB0EE}" sibTransId="{6C1BE96C-AA25-4ED4-9AC8-E3ACCB2F40C4}"/>
    <dgm:cxn modelId="{7522D120-B495-4281-9FEF-65984A8AAEBA}" type="presOf" srcId="{6C62B298-7247-4C5E-9004-4B453E20E17E}" destId="{969099BA-EA5C-49B2-9527-A1E0F882EFA3}" srcOrd="0" destOrd="0" presId="urn:microsoft.com/office/officeart/2005/8/layout/hList1"/>
    <dgm:cxn modelId="{8EC86C25-B632-4315-857A-C89894E5B34D}" type="presOf" srcId="{2A321B8E-399E-4541-A96C-D56E89FFA6F1}" destId="{AD326282-D0EF-4A94-A712-AB7734854C8C}" srcOrd="0" destOrd="3" presId="urn:microsoft.com/office/officeart/2005/8/layout/hList1"/>
    <dgm:cxn modelId="{56CD882A-6E9F-49DC-8B73-1A97468B5685}" srcId="{510FD4AD-7EE9-4443-BE69-7258A6898131}" destId="{1381C246-06B9-4B75-BAD5-1F89816ADD99}" srcOrd="4" destOrd="0" parTransId="{4D27FE6A-99CF-4204-AE8A-E11EB923BF5B}" sibTransId="{31F7DBD3-1005-463F-BFCD-55C0ADA683F5}"/>
    <dgm:cxn modelId="{21FBD32F-2CFD-4D72-990B-701D445E6ADF}" type="presOf" srcId="{0DA57A10-FA21-4396-B33D-0E2BC447406F}" destId="{AD326282-D0EF-4A94-A712-AB7734854C8C}" srcOrd="0" destOrd="4" presId="urn:microsoft.com/office/officeart/2005/8/layout/hList1"/>
    <dgm:cxn modelId="{6F4F0734-0506-4043-841B-F8F74DD96F74}" srcId="{11942ABA-CB9F-4422-AE41-3FF7EE54BB57}" destId="{9B1A39C8-6864-46CF-9184-744C0D369F65}" srcOrd="5" destOrd="0" parTransId="{0AFEE870-127C-4160-9B7F-D35A1F7DC91F}" sibTransId="{C8A3497F-313A-4E8C-B270-52B981139127}"/>
    <dgm:cxn modelId="{235A993A-06A2-43BC-BFB1-040DF54487C6}" srcId="{6C62B298-7247-4C5E-9004-4B453E20E17E}" destId="{0789FF19-4B2F-4D50-A716-FFCEDE291182}" srcOrd="3" destOrd="0" parTransId="{6524ABDD-89BE-480D-B83E-63DF1944B065}" sibTransId="{A5ADD492-0431-48FE-A092-5DB275219F78}"/>
    <dgm:cxn modelId="{8E75873C-25C2-4E58-840A-9025A5AF6542}" srcId="{510FD4AD-7EE9-4443-BE69-7258A6898131}" destId="{5E9CBAB6-CCF6-482C-97BD-B66DE4C6BBFD}" srcOrd="0" destOrd="0" parTransId="{9929338E-9844-4A5C-8D9B-97B2EB17FD9C}" sibTransId="{D51B4D3C-D3A6-454A-927B-3D3554AF341E}"/>
    <dgm:cxn modelId="{24F7075D-6DF4-4863-BE1C-A13D94072074}" type="presOf" srcId="{9753F862-838E-46DD-8EC7-9F0EF44F9DAC}" destId="{A4E8F572-A4DA-480D-ABE8-7B3C4C56B4CC}" srcOrd="0" destOrd="0" presId="urn:microsoft.com/office/officeart/2005/8/layout/hList1"/>
    <dgm:cxn modelId="{3292045E-D7A8-4F66-BA66-ABE23B583655}" type="presOf" srcId="{A6FEF92A-CD0C-458E-B83D-5C34A334AAE4}" destId="{A4E8F572-A4DA-480D-ABE8-7B3C4C56B4CC}" srcOrd="0" destOrd="2" presId="urn:microsoft.com/office/officeart/2005/8/layout/hList1"/>
    <dgm:cxn modelId="{3628AD5E-7CEC-4B6F-B308-F948367DEE2F}" type="presOf" srcId="{8512A62C-922D-4AD1-864B-E7724507C4DE}" destId="{47F3C100-BA4A-4088-BBB6-DA1373C17A50}" srcOrd="0" destOrd="2" presId="urn:microsoft.com/office/officeart/2005/8/layout/hList1"/>
    <dgm:cxn modelId="{84F2A263-6FDF-43E6-BD06-5DBA1FF8F9C7}" type="presOf" srcId="{C399A8A8-F158-43F1-AC53-72E2A4791314}" destId="{AD326282-D0EF-4A94-A712-AB7734854C8C}" srcOrd="0" destOrd="1" presId="urn:microsoft.com/office/officeart/2005/8/layout/hList1"/>
    <dgm:cxn modelId="{50ABB04A-0A24-4339-A93C-C38EEAA95BA6}" type="presOf" srcId="{9B1A39C8-6864-46CF-9184-744C0D369F65}" destId="{AD326282-D0EF-4A94-A712-AB7734854C8C}" srcOrd="0" destOrd="5" presId="urn:microsoft.com/office/officeart/2005/8/layout/hList1"/>
    <dgm:cxn modelId="{1126606C-D0D7-482F-811D-47FEF5D15B81}" srcId="{510FD4AD-7EE9-4443-BE69-7258A6898131}" destId="{97CCA657-6DDA-4DCD-ADC2-4096B2141179}" srcOrd="5" destOrd="0" parTransId="{27F98DCB-1B4D-405E-A4F0-0E5294138B15}" sibTransId="{196AB97F-61B3-4BFE-97F3-90AB7A7FB82E}"/>
    <dgm:cxn modelId="{CE487256-0C0C-4269-8BCE-8F383EA8C50A}" type="presOf" srcId="{D1B6B361-E2BF-436E-92D9-84FC16E98812}" destId="{47F3C100-BA4A-4088-BBB6-DA1373C17A50}" srcOrd="0" destOrd="1" presId="urn:microsoft.com/office/officeart/2005/8/layout/hList1"/>
    <dgm:cxn modelId="{43D9F189-EE8B-4EB8-8FB9-75B7A90C8993}" type="presOf" srcId="{0789FF19-4B2F-4D50-A716-FFCEDE291182}" destId="{A4E8F572-A4DA-480D-ABE8-7B3C4C56B4CC}" srcOrd="0" destOrd="3" presId="urn:microsoft.com/office/officeart/2005/8/layout/hList1"/>
    <dgm:cxn modelId="{3BCC2F8B-344F-43C6-A91F-B52C7B1FE06A}" srcId="{11942ABA-CB9F-4422-AE41-3FF7EE54BB57}" destId="{C399A8A8-F158-43F1-AC53-72E2A4791314}" srcOrd="1" destOrd="0" parTransId="{E812AB38-DD19-46B7-9C64-EEFE29608E06}" sibTransId="{5E5E0B72-B668-4138-A295-034931471BA5}"/>
    <dgm:cxn modelId="{0D27DFA9-26DD-4B6A-8D1B-D97F519B36E9}" srcId="{6C62B298-7247-4C5E-9004-4B453E20E17E}" destId="{A6FEF92A-CD0C-458E-B83D-5C34A334AAE4}" srcOrd="2" destOrd="0" parTransId="{22E19909-DA3F-48C6-B555-A5597F6CC667}" sibTransId="{0B611B86-B6C0-4020-AA57-2B7E1E7063CB}"/>
    <dgm:cxn modelId="{64248DAC-7BEF-4E6C-9B4A-6963FE3E7490}" srcId="{7EC4CFB2-8675-4770-B3BE-F74C113FD3A6}" destId="{11942ABA-CB9F-4422-AE41-3FF7EE54BB57}" srcOrd="1" destOrd="0" parTransId="{55E35190-E213-420A-9FD4-AD281C0E2D91}" sibTransId="{3A5867FF-BB5E-4A01-91EF-11BEECD0ADEB}"/>
    <dgm:cxn modelId="{B47714AE-C6D9-4316-8A5A-CA2ED3DF12F2}" srcId="{11942ABA-CB9F-4422-AE41-3FF7EE54BB57}" destId="{2A321B8E-399E-4541-A96C-D56E89FFA6F1}" srcOrd="3" destOrd="0" parTransId="{52492BA6-29D2-47BF-907D-DCAB6E34C42F}" sibTransId="{58480DE8-A070-4EC5-B0EA-027BE65CD70C}"/>
    <dgm:cxn modelId="{6E1593B1-A347-4439-AAE0-137240ACF427}" srcId="{11942ABA-CB9F-4422-AE41-3FF7EE54BB57}" destId="{4EFCA8D0-02EC-4738-A6FD-E0BF0804DA57}" srcOrd="0" destOrd="0" parTransId="{19138868-E1EA-403B-A680-D90AAB4322DE}" sibTransId="{3246E8EF-616E-4AF8-9F0B-900971F6A4BA}"/>
    <dgm:cxn modelId="{D41DD5B1-9754-4ACA-A9CE-7C868320C2B2}" srcId="{510FD4AD-7EE9-4443-BE69-7258A6898131}" destId="{D1B6B361-E2BF-436E-92D9-84FC16E98812}" srcOrd="1" destOrd="0" parTransId="{0AA111CD-B26C-42F2-B4E6-24B5DFE474E9}" sibTransId="{DF39BD9A-BFDB-44F0-A587-89010044B40A}"/>
    <dgm:cxn modelId="{81DE9CB3-D3BE-40E6-93F6-C45D42AD2E6F}" srcId="{11942ABA-CB9F-4422-AE41-3FF7EE54BB57}" destId="{0DA57A10-FA21-4396-B33D-0E2BC447406F}" srcOrd="4" destOrd="0" parTransId="{522EC829-545A-4314-9ED7-4E089404CFE2}" sibTransId="{9771353F-CDF7-42F5-87D2-89175978D1F7}"/>
    <dgm:cxn modelId="{956596B5-011F-45D2-A93A-51384C9966E0}" type="presOf" srcId="{510FD4AD-7EE9-4443-BE69-7258A6898131}" destId="{BBB29D31-0B6B-4409-B7B5-746BA1CACEA8}" srcOrd="0" destOrd="0" presId="urn:microsoft.com/office/officeart/2005/8/layout/hList1"/>
    <dgm:cxn modelId="{4E42F0B8-E9D7-4A3C-8ED9-EFCB37595659}" type="presOf" srcId="{FA9A6E02-E299-4982-B84E-040F27B32FE0}" destId="{47F3C100-BA4A-4088-BBB6-DA1373C17A50}" srcOrd="0" destOrd="3" presId="urn:microsoft.com/office/officeart/2005/8/layout/hList1"/>
    <dgm:cxn modelId="{88A042B9-2F20-4A40-A93D-6C5F3B8D41DC}" type="presOf" srcId="{5E9CBAB6-CCF6-482C-97BD-B66DE4C6BBFD}" destId="{47F3C100-BA4A-4088-BBB6-DA1373C17A50}" srcOrd="0" destOrd="0" presId="urn:microsoft.com/office/officeart/2005/8/layout/hList1"/>
    <dgm:cxn modelId="{98776BB9-FDF7-41D2-9700-CB24FF0995B5}" type="presOf" srcId="{1381C246-06B9-4B75-BAD5-1F89816ADD99}" destId="{47F3C100-BA4A-4088-BBB6-DA1373C17A50}" srcOrd="0" destOrd="4" presId="urn:microsoft.com/office/officeart/2005/8/layout/hList1"/>
    <dgm:cxn modelId="{2EEF10C1-562B-42EB-9D68-26DBF7B84F77}" srcId="{6C62B298-7247-4C5E-9004-4B453E20E17E}" destId="{9753F862-838E-46DD-8EC7-9F0EF44F9DAC}" srcOrd="0" destOrd="0" parTransId="{A779867C-4DE0-4B53-96C3-EB5E68D2D0DE}" sibTransId="{9CC18D73-70A5-4833-89BF-057773254630}"/>
    <dgm:cxn modelId="{639EF2C9-F7ED-4AB3-848B-830580A4056E}" type="presOf" srcId="{92E97DA1-2925-46FC-ACAD-BD1328A709FB}" destId="{AD326282-D0EF-4A94-A712-AB7734854C8C}" srcOrd="0" destOrd="2" presId="urn:microsoft.com/office/officeart/2005/8/layout/hList1"/>
    <dgm:cxn modelId="{D7A4C0CE-1A88-43A7-8821-6AE17990B12B}" srcId="{6C62B298-7247-4C5E-9004-4B453E20E17E}" destId="{51CB358D-2F90-43F1-B4C2-721F8BE3C834}" srcOrd="1" destOrd="0" parTransId="{61E8FE84-13AA-40C9-A604-4D900379C5ED}" sibTransId="{B1D19FC5-62F9-4458-A5B0-491A113467F8}"/>
    <dgm:cxn modelId="{F98342D1-1BD9-4ED3-9BDD-9261F5F9122E}" srcId="{7EC4CFB2-8675-4770-B3BE-F74C113FD3A6}" destId="{6C62B298-7247-4C5E-9004-4B453E20E17E}" srcOrd="2" destOrd="0" parTransId="{9B2D3CB3-21C3-4184-9777-C192ABE7A262}" sibTransId="{9E68079E-D5FE-4B9D-A96A-D9A28E0DC3ED}"/>
    <dgm:cxn modelId="{2527E6D5-EE12-409B-BAF6-9612F8D44D66}" type="presOf" srcId="{51CB358D-2F90-43F1-B4C2-721F8BE3C834}" destId="{A4E8F572-A4DA-480D-ABE8-7B3C4C56B4CC}" srcOrd="0" destOrd="1" presId="urn:microsoft.com/office/officeart/2005/8/layout/hList1"/>
    <dgm:cxn modelId="{16E6E2E8-5454-46EC-9520-4837C588556E}" type="presOf" srcId="{11942ABA-CB9F-4422-AE41-3FF7EE54BB57}" destId="{14522C89-E385-4A9A-8838-F3A254444FF9}" srcOrd="0" destOrd="0" presId="urn:microsoft.com/office/officeart/2005/8/layout/hList1"/>
    <dgm:cxn modelId="{EC300DEB-6AC3-47D7-A500-A81AA16B6574}" type="presOf" srcId="{97CCA657-6DDA-4DCD-ADC2-4096B2141179}" destId="{47F3C100-BA4A-4088-BBB6-DA1373C17A50}" srcOrd="0" destOrd="5" presId="urn:microsoft.com/office/officeart/2005/8/layout/hList1"/>
    <dgm:cxn modelId="{E57278F5-73F0-4417-AB41-46FE0C953FDA}" srcId="{7EC4CFB2-8675-4770-B3BE-F74C113FD3A6}" destId="{510FD4AD-7EE9-4443-BE69-7258A6898131}" srcOrd="0" destOrd="0" parTransId="{A39172E5-7E08-462C-8069-370F2A3BCCE9}" sibTransId="{D15EBA90-D9AA-4721-99A5-77E8687CC215}"/>
    <dgm:cxn modelId="{86D0D2FA-8EA0-4BBD-8C98-1E08AD18A0F4}" type="presOf" srcId="{4EFCA8D0-02EC-4738-A6FD-E0BF0804DA57}" destId="{AD326282-D0EF-4A94-A712-AB7734854C8C}" srcOrd="0" destOrd="0" presId="urn:microsoft.com/office/officeart/2005/8/layout/hList1"/>
    <dgm:cxn modelId="{C1AFC512-DB02-4F8C-AF9E-A800B2734BA5}" type="presParOf" srcId="{723DFEE1-6A8A-4BFB-941C-8486FF76BE27}" destId="{6B7AF3AB-7FED-4740-81A0-CC470573F7C0}" srcOrd="0" destOrd="0" presId="urn:microsoft.com/office/officeart/2005/8/layout/hList1"/>
    <dgm:cxn modelId="{17445E09-1A4C-4713-B566-95CBDC65CF07}" type="presParOf" srcId="{6B7AF3AB-7FED-4740-81A0-CC470573F7C0}" destId="{BBB29D31-0B6B-4409-B7B5-746BA1CACEA8}" srcOrd="0" destOrd="0" presId="urn:microsoft.com/office/officeart/2005/8/layout/hList1"/>
    <dgm:cxn modelId="{735CE95B-1E8C-438B-8A13-3762C6621ABE}" type="presParOf" srcId="{6B7AF3AB-7FED-4740-81A0-CC470573F7C0}" destId="{47F3C100-BA4A-4088-BBB6-DA1373C17A50}" srcOrd="1" destOrd="0" presId="urn:microsoft.com/office/officeart/2005/8/layout/hList1"/>
    <dgm:cxn modelId="{40DE0930-A9C7-41AE-8947-B6084403D1CF}" type="presParOf" srcId="{723DFEE1-6A8A-4BFB-941C-8486FF76BE27}" destId="{736E560E-23D2-4340-8217-E798FFDC7E66}" srcOrd="1" destOrd="0" presId="urn:microsoft.com/office/officeart/2005/8/layout/hList1"/>
    <dgm:cxn modelId="{E1B640FA-FE44-4F8C-8218-9FC960C67660}" type="presParOf" srcId="{723DFEE1-6A8A-4BFB-941C-8486FF76BE27}" destId="{3401291B-88CE-4374-B1B1-E191C230386E}" srcOrd="2" destOrd="0" presId="urn:microsoft.com/office/officeart/2005/8/layout/hList1"/>
    <dgm:cxn modelId="{B69CEE60-5082-4836-8876-012AE290EA90}" type="presParOf" srcId="{3401291B-88CE-4374-B1B1-E191C230386E}" destId="{14522C89-E385-4A9A-8838-F3A254444FF9}" srcOrd="0" destOrd="0" presId="urn:microsoft.com/office/officeart/2005/8/layout/hList1"/>
    <dgm:cxn modelId="{26E5B33E-2F7B-4813-BF32-CD7DC12FD227}" type="presParOf" srcId="{3401291B-88CE-4374-B1B1-E191C230386E}" destId="{AD326282-D0EF-4A94-A712-AB7734854C8C}" srcOrd="1" destOrd="0" presId="urn:microsoft.com/office/officeart/2005/8/layout/hList1"/>
    <dgm:cxn modelId="{39F3DB1A-4E6B-4847-87BC-C75BE09E2B76}" type="presParOf" srcId="{723DFEE1-6A8A-4BFB-941C-8486FF76BE27}" destId="{32A61E06-65BF-4191-8F86-AEC6CF8F1136}" srcOrd="3" destOrd="0" presId="urn:microsoft.com/office/officeart/2005/8/layout/hList1"/>
    <dgm:cxn modelId="{D7623DDA-C4D5-4847-8D8B-585E1FED4343}" type="presParOf" srcId="{723DFEE1-6A8A-4BFB-941C-8486FF76BE27}" destId="{A014634D-F6CA-4BF9-BD26-298E7EDF38D6}" srcOrd="4" destOrd="0" presId="urn:microsoft.com/office/officeart/2005/8/layout/hList1"/>
    <dgm:cxn modelId="{6D4FD1E3-B2CA-4F34-9663-1E829B54E30E}" type="presParOf" srcId="{A014634D-F6CA-4BF9-BD26-298E7EDF38D6}" destId="{969099BA-EA5C-49B2-9527-A1E0F882EFA3}" srcOrd="0" destOrd="0" presId="urn:microsoft.com/office/officeart/2005/8/layout/hList1"/>
    <dgm:cxn modelId="{C7AA7C14-3E49-4E9E-97A8-97BDB5E23C72}" type="presParOf" srcId="{A014634D-F6CA-4BF9-BD26-298E7EDF38D6}" destId="{A4E8F572-A4DA-480D-ABE8-7B3C4C56B4C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62590-0037-4B3D-A8FA-E053CAA7DF54}">
      <dsp:nvSpPr>
        <dsp:cNvPr id="0" name=""/>
        <dsp:cNvSpPr/>
      </dsp:nvSpPr>
      <dsp:spPr>
        <a:xfrm>
          <a:off x="0" y="338667"/>
          <a:ext cx="8128000" cy="507999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7F0D63-7ED1-4AC1-8099-282537B09887}">
      <dsp:nvSpPr>
        <dsp:cNvPr id="0" name=""/>
        <dsp:cNvSpPr/>
      </dsp:nvSpPr>
      <dsp:spPr>
        <a:xfrm>
          <a:off x="1155544" y="3726919"/>
          <a:ext cx="211328" cy="2113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50534F-0143-4401-B862-4699D62E0C24}">
      <dsp:nvSpPr>
        <dsp:cNvPr id="0" name=""/>
        <dsp:cNvSpPr/>
      </dsp:nvSpPr>
      <dsp:spPr>
        <a:xfrm>
          <a:off x="1435875" y="3924597"/>
          <a:ext cx="1893824" cy="1304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978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IN USER</a:t>
          </a:r>
          <a:endParaRPr lang="en-ID" sz="2000" kern="1200" dirty="0"/>
        </a:p>
      </dsp:txBody>
      <dsp:txXfrm>
        <a:off x="1435875" y="3924597"/>
        <a:ext cx="1893824" cy="1304644"/>
      </dsp:txXfrm>
    </dsp:sp>
    <dsp:sp modelId="{1AF440EC-5A2E-4A5E-944D-025FCD23E8A6}">
      <dsp:nvSpPr>
        <dsp:cNvPr id="0" name=""/>
        <dsp:cNvSpPr/>
      </dsp:nvSpPr>
      <dsp:spPr>
        <a:xfrm>
          <a:off x="2897632" y="2478455"/>
          <a:ext cx="382016" cy="3820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B9C832-CA51-4403-ACD2-F4E48BC2BB19}">
      <dsp:nvSpPr>
        <dsp:cNvPr id="0" name=""/>
        <dsp:cNvSpPr/>
      </dsp:nvSpPr>
      <dsp:spPr>
        <a:xfrm>
          <a:off x="3201664" y="3117981"/>
          <a:ext cx="1950720" cy="23006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422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HASISWA</a:t>
          </a:r>
          <a:endParaRPr lang="en-ID" sz="2000" kern="1200" dirty="0"/>
        </a:p>
      </dsp:txBody>
      <dsp:txXfrm>
        <a:off x="3201664" y="3117981"/>
        <a:ext cx="1950720" cy="2300685"/>
      </dsp:txXfrm>
    </dsp:sp>
    <dsp:sp modelId="{BDF35764-8ECD-4F52-B75E-374714591D86}">
      <dsp:nvSpPr>
        <dsp:cNvPr id="0" name=""/>
        <dsp:cNvSpPr/>
      </dsp:nvSpPr>
      <dsp:spPr>
        <a:xfrm>
          <a:off x="5182058" y="1557315"/>
          <a:ext cx="528320" cy="5283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0153A0-86EE-44DF-B8B0-5D631E645C17}">
      <dsp:nvSpPr>
        <dsp:cNvPr id="0" name=""/>
        <dsp:cNvSpPr/>
      </dsp:nvSpPr>
      <dsp:spPr>
        <a:xfrm>
          <a:off x="5405120" y="2409212"/>
          <a:ext cx="1950720" cy="2149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946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SIKIATER</a:t>
          </a:r>
          <a:endParaRPr lang="en-ID" sz="2000" kern="1200" dirty="0"/>
        </a:p>
      </dsp:txBody>
      <dsp:txXfrm>
        <a:off x="5405120" y="2409212"/>
        <a:ext cx="1950720" cy="21496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29D31-0B6B-4409-B7B5-746BA1CACEA8}">
      <dsp:nvSpPr>
        <dsp:cNvPr id="0" name=""/>
        <dsp:cNvSpPr/>
      </dsp:nvSpPr>
      <dsp:spPr>
        <a:xfrm>
          <a:off x="3554" y="274530"/>
          <a:ext cx="3466056" cy="1094400"/>
        </a:xfrm>
        <a:prstGeom prst="rect">
          <a:avLst/>
        </a:prstGeom>
        <a:solidFill>
          <a:schemeClr val="accent3">
            <a:lumMod val="7500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0256" tIns="154432" rIns="270256" bIns="154432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PSIKIATER</a:t>
          </a:r>
          <a:endParaRPr lang="en-ID" sz="3800" kern="1200" dirty="0"/>
        </a:p>
      </dsp:txBody>
      <dsp:txXfrm>
        <a:off x="3554" y="274530"/>
        <a:ext cx="3466056" cy="1094400"/>
      </dsp:txXfrm>
    </dsp:sp>
    <dsp:sp modelId="{47F3C100-BA4A-4088-BBB6-DA1373C17A50}">
      <dsp:nvSpPr>
        <dsp:cNvPr id="0" name=""/>
        <dsp:cNvSpPr/>
      </dsp:nvSpPr>
      <dsp:spPr>
        <a:xfrm>
          <a:off x="3554" y="1368930"/>
          <a:ext cx="3466056" cy="3755159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</a:t>
          </a:r>
          <a:r>
            <a:rPr lang="en-US" sz="1800" kern="1200" dirty="0" err="1"/>
            <a:t>jadwal</a:t>
          </a:r>
          <a:r>
            <a:rPr lang="en-US" sz="1800" kern="1200" dirty="0"/>
            <a:t> Meet Up </a:t>
          </a:r>
          <a:r>
            <a:rPr lang="en-US" sz="1800" kern="1200" dirty="0" err="1"/>
            <a:t>dengan</a:t>
          </a:r>
          <a:r>
            <a:rPr lang="en-US" sz="1800" kern="1200" dirty="0"/>
            <a:t> </a:t>
          </a:r>
          <a:r>
            <a:rPr lang="en-US" sz="1800" kern="1200" dirty="0" err="1"/>
            <a:t>pasien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nerima</a:t>
          </a:r>
          <a:r>
            <a:rPr lang="en-US" sz="1800" kern="1200" dirty="0"/>
            <a:t> request </a:t>
          </a:r>
          <a:r>
            <a:rPr lang="en-US" sz="1800" kern="1200" dirty="0" err="1"/>
            <a:t>konseling</a:t>
          </a:r>
          <a:r>
            <a:rPr lang="en-US" sz="1800" kern="1200" dirty="0"/>
            <a:t> yang </a:t>
          </a:r>
          <a:r>
            <a:rPr lang="en-US" sz="1800" kern="1200" dirty="0" err="1"/>
            <a:t>dipilih</a:t>
          </a:r>
          <a:r>
            <a:rPr lang="en-US" sz="1800" kern="1200" dirty="0"/>
            <a:t> oleh Main Us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</a:t>
          </a:r>
          <a:r>
            <a:rPr lang="en-US" sz="1800" kern="1200" dirty="0" err="1"/>
            <a:t>jadwal</a:t>
          </a:r>
          <a:r>
            <a:rPr lang="en-US" sz="1800" kern="1200" dirty="0"/>
            <a:t> webinar </a:t>
          </a:r>
          <a:r>
            <a:rPr lang="en-US" sz="1800" kern="1200" dirty="0" err="1"/>
            <a:t>terbuka</a:t>
          </a:r>
          <a:r>
            <a:rPr lang="en-US" sz="1800" kern="1200" dirty="0"/>
            <a:t> </a:t>
          </a:r>
          <a:r>
            <a:rPr lang="en-US" sz="1800" kern="1200" dirty="0" err="1"/>
            <a:t>untuk</a:t>
          </a:r>
          <a:r>
            <a:rPr lang="en-US" sz="1800" kern="1200" dirty="0"/>
            <a:t> </a:t>
          </a:r>
          <a:r>
            <a:rPr lang="en-US" sz="1800" kern="1200" dirty="0" err="1"/>
            <a:t>Mahasiswa</a:t>
          </a:r>
          <a:r>
            <a:rPr lang="en-US" sz="1800" kern="1200" dirty="0"/>
            <a:t> dan Main Us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</a:t>
          </a:r>
          <a:r>
            <a:rPr lang="en-US" sz="1800" kern="1200" dirty="0" err="1"/>
            <a:t>komunitas</a:t>
          </a:r>
          <a:r>
            <a:rPr lang="en-US" sz="1800" kern="1200" dirty="0"/>
            <a:t> </a:t>
          </a:r>
          <a:r>
            <a:rPr lang="en-US" sz="1800" kern="1200" dirty="0" err="1"/>
            <a:t>diskusi</a:t>
          </a:r>
          <a:r>
            <a:rPr lang="en-US" sz="1800" kern="1200" dirty="0"/>
            <a:t> </a:t>
          </a:r>
          <a:r>
            <a:rPr lang="en-US" sz="1800" kern="1200" dirty="0" err="1"/>
            <a:t>dengan</a:t>
          </a:r>
          <a:r>
            <a:rPr lang="en-US" sz="1800" kern="1200" dirty="0"/>
            <a:t> </a:t>
          </a:r>
          <a:r>
            <a:rPr lang="en-US" sz="1800" kern="1200" dirty="0" err="1"/>
            <a:t>fitur</a:t>
          </a:r>
          <a:r>
            <a:rPr lang="en-US" sz="1800" kern="1200" dirty="0"/>
            <a:t> Space Labs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forum </a:t>
          </a:r>
          <a:r>
            <a:rPr lang="en-US" sz="1800" kern="1200" dirty="0" err="1"/>
            <a:t>diskusi</a:t>
          </a:r>
          <a:r>
            <a:rPr lang="en-US" sz="1800" kern="1200" dirty="0"/>
            <a:t> </a:t>
          </a:r>
          <a:r>
            <a:rPr lang="en-US" sz="1800" kern="1200" dirty="0" err="1"/>
            <a:t>terbuka</a:t>
          </a:r>
          <a:r>
            <a:rPr lang="en-US" sz="1800" kern="1200" dirty="0"/>
            <a:t> di </a:t>
          </a:r>
          <a:r>
            <a:rPr lang="en-US" sz="1800" kern="1200" dirty="0" err="1"/>
            <a:t>fitur</a:t>
          </a:r>
          <a:r>
            <a:rPr lang="en-US" sz="1800" kern="1200" dirty="0"/>
            <a:t> Mind Map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nerima</a:t>
          </a:r>
          <a:r>
            <a:rPr lang="en-US" sz="1800" kern="1200" dirty="0"/>
            <a:t> </a:t>
          </a:r>
          <a:r>
            <a:rPr lang="en-US" sz="1800" kern="1200" dirty="0" err="1"/>
            <a:t>insentif</a:t>
          </a:r>
          <a:r>
            <a:rPr lang="en-US" sz="1800" kern="1200" dirty="0"/>
            <a:t> </a:t>
          </a:r>
          <a:r>
            <a:rPr lang="en-US" sz="1800" kern="1200" dirty="0" err="1"/>
            <a:t>konseling</a:t>
          </a:r>
          <a:r>
            <a:rPr lang="en-US" sz="1800" kern="1200" dirty="0"/>
            <a:t> </a:t>
          </a:r>
          <a:endParaRPr lang="en-ID" sz="1800" kern="1200" dirty="0"/>
        </a:p>
      </dsp:txBody>
      <dsp:txXfrm>
        <a:off x="3554" y="1368930"/>
        <a:ext cx="3466056" cy="3755159"/>
      </dsp:txXfrm>
    </dsp:sp>
    <dsp:sp modelId="{14522C89-E385-4A9A-8838-F3A254444FF9}">
      <dsp:nvSpPr>
        <dsp:cNvPr id="0" name=""/>
        <dsp:cNvSpPr/>
      </dsp:nvSpPr>
      <dsp:spPr>
        <a:xfrm>
          <a:off x="3954859" y="274530"/>
          <a:ext cx="3466056" cy="1094400"/>
        </a:xfrm>
        <a:prstGeom prst="rect">
          <a:avLst/>
        </a:prstGeom>
        <a:solidFill>
          <a:schemeClr val="accent2">
            <a:lumMod val="75000"/>
          </a:schemeClr>
        </a:solidFill>
        <a:ln w="9525" cap="flat" cmpd="sng" algn="ctr">
          <a:solidFill>
            <a:schemeClr val="accent5">
              <a:hueOff val="362454"/>
              <a:satOff val="17342"/>
              <a:lumOff val="-12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0256" tIns="154432" rIns="270256" bIns="154432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MAHASISWA</a:t>
          </a:r>
          <a:endParaRPr lang="en-ID" sz="3800" kern="1200" dirty="0"/>
        </a:p>
      </dsp:txBody>
      <dsp:txXfrm>
        <a:off x="3954859" y="274530"/>
        <a:ext cx="3466056" cy="1094400"/>
      </dsp:txXfrm>
    </dsp:sp>
    <dsp:sp modelId="{AD326282-D0EF-4A94-A712-AB7734854C8C}">
      <dsp:nvSpPr>
        <dsp:cNvPr id="0" name=""/>
        <dsp:cNvSpPr/>
      </dsp:nvSpPr>
      <dsp:spPr>
        <a:xfrm>
          <a:off x="3954859" y="1368930"/>
          <a:ext cx="3466056" cy="3755159"/>
        </a:xfrm>
        <a:prstGeom prst="rect">
          <a:avLst/>
        </a:prstGeom>
        <a:solidFill>
          <a:schemeClr val="accent5">
            <a:tint val="40000"/>
            <a:alpha val="90000"/>
            <a:hueOff val="498717"/>
            <a:satOff val="-561"/>
            <a:lumOff val="-2049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498717"/>
              <a:satOff val="-561"/>
              <a:lumOff val="-204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erikan</a:t>
          </a:r>
          <a:r>
            <a:rPr lang="en-US" sz="1800" kern="1200" dirty="0"/>
            <a:t> </a:t>
          </a:r>
          <a:r>
            <a:rPr lang="en-US" sz="1800" kern="1200" dirty="0" err="1"/>
            <a:t>konseling</a:t>
          </a:r>
          <a:r>
            <a:rPr lang="en-US" sz="1800" kern="1200" dirty="0"/>
            <a:t> </a:t>
          </a:r>
          <a:r>
            <a:rPr lang="en-US" sz="1800" kern="1200" dirty="0" err="1"/>
            <a:t>terbatas</a:t>
          </a:r>
          <a:r>
            <a:rPr lang="en-US" sz="1800" kern="1200" dirty="0"/>
            <a:t> </a:t>
          </a:r>
          <a:r>
            <a:rPr lang="en-US" sz="1800" kern="1200" dirty="0" err="1"/>
            <a:t>dengan</a:t>
          </a:r>
          <a:r>
            <a:rPr lang="en-US" sz="1800" kern="1200" dirty="0"/>
            <a:t> main us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lakukan</a:t>
          </a:r>
          <a:r>
            <a:rPr lang="en-US" sz="1800" kern="1200" dirty="0"/>
            <a:t> </a:t>
          </a:r>
          <a:r>
            <a:rPr lang="en-US" sz="1800" kern="1200" dirty="0" err="1"/>
            <a:t>riset</a:t>
          </a:r>
          <a:r>
            <a:rPr lang="en-US" sz="1800" kern="1200" dirty="0"/>
            <a:t> </a:t>
          </a:r>
          <a:r>
            <a:rPr lang="en-US" sz="1800" kern="1200" dirty="0" err="1"/>
            <a:t>konseling</a:t>
          </a:r>
          <a:r>
            <a:rPr lang="en-US" sz="1800" kern="1200" dirty="0"/>
            <a:t> </a:t>
          </a:r>
          <a:r>
            <a:rPr lang="en-US" sz="1800" kern="1200" dirty="0" err="1"/>
            <a:t>dengan</a:t>
          </a:r>
          <a:r>
            <a:rPr lang="en-US" sz="1800" kern="1200" dirty="0"/>
            <a:t> main us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request </a:t>
          </a:r>
          <a:r>
            <a:rPr lang="en-US" sz="1800" kern="1200" dirty="0" err="1"/>
            <a:t>kolaborasi</a:t>
          </a:r>
          <a:r>
            <a:rPr lang="en-US" sz="1800" kern="1200" dirty="0"/>
            <a:t> webinar Bersama </a:t>
          </a:r>
          <a:r>
            <a:rPr lang="en-US" sz="1800" kern="1200" dirty="0" err="1"/>
            <a:t>Psikiat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</a:t>
          </a:r>
          <a:r>
            <a:rPr lang="en-US" sz="1800" kern="1200" dirty="0" err="1"/>
            <a:t>jadwal</a:t>
          </a:r>
          <a:r>
            <a:rPr lang="en-US" sz="1800" kern="1200" dirty="0"/>
            <a:t> webinar </a:t>
          </a:r>
          <a:r>
            <a:rPr lang="en-US" sz="1800" kern="1200" dirty="0" err="1"/>
            <a:t>dengan</a:t>
          </a:r>
          <a:r>
            <a:rPr lang="en-US" sz="1800" kern="1200" dirty="0"/>
            <a:t> </a:t>
          </a:r>
          <a:r>
            <a:rPr lang="en-US" sz="1800" kern="1200" dirty="0" err="1"/>
            <a:t>Psikiater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forum </a:t>
          </a:r>
          <a:r>
            <a:rPr lang="en-US" sz="1800" kern="1200" dirty="0" err="1"/>
            <a:t>diskusi</a:t>
          </a:r>
          <a:r>
            <a:rPr lang="en-US" sz="1800" kern="1200" dirty="0"/>
            <a:t> </a:t>
          </a:r>
          <a:r>
            <a:rPr lang="en-US" sz="1800" kern="1200" dirty="0" err="1"/>
            <a:t>terbuka</a:t>
          </a:r>
          <a:r>
            <a:rPr lang="en-US" sz="1800" kern="1200" dirty="0"/>
            <a:t> di </a:t>
          </a:r>
          <a:r>
            <a:rPr lang="en-US" sz="1800" kern="1200" dirty="0" err="1"/>
            <a:t>fitur</a:t>
          </a:r>
          <a:r>
            <a:rPr lang="en-US" sz="1800" kern="1200" dirty="0"/>
            <a:t> Mind Map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</a:t>
          </a:r>
          <a:r>
            <a:rPr lang="en-US" sz="1800" kern="1200" dirty="0" err="1"/>
            <a:t>komunitas</a:t>
          </a:r>
          <a:r>
            <a:rPr lang="en-US" sz="1800" kern="1200" dirty="0"/>
            <a:t> </a:t>
          </a:r>
          <a:r>
            <a:rPr lang="en-US" sz="1800" kern="1200" dirty="0" err="1"/>
            <a:t>diskusi</a:t>
          </a:r>
          <a:r>
            <a:rPr lang="en-US" sz="1800" kern="1200" dirty="0"/>
            <a:t> </a:t>
          </a:r>
          <a:r>
            <a:rPr lang="en-US" sz="1800" kern="1200" dirty="0" err="1"/>
            <a:t>dengan</a:t>
          </a:r>
          <a:r>
            <a:rPr lang="en-US" sz="1800" kern="1200" dirty="0"/>
            <a:t> </a:t>
          </a:r>
          <a:r>
            <a:rPr lang="en-US" sz="1800" kern="1200" dirty="0" err="1"/>
            <a:t>fitur</a:t>
          </a:r>
          <a:r>
            <a:rPr lang="en-US" sz="1800" kern="1200" dirty="0"/>
            <a:t> Space Labs</a:t>
          </a:r>
          <a:endParaRPr lang="en-ID" sz="1800" kern="1200" dirty="0"/>
        </a:p>
      </dsp:txBody>
      <dsp:txXfrm>
        <a:off x="3954859" y="1368930"/>
        <a:ext cx="3466056" cy="3755159"/>
      </dsp:txXfrm>
    </dsp:sp>
    <dsp:sp modelId="{969099BA-EA5C-49B2-9527-A1E0F882EFA3}">
      <dsp:nvSpPr>
        <dsp:cNvPr id="0" name=""/>
        <dsp:cNvSpPr/>
      </dsp:nvSpPr>
      <dsp:spPr>
        <a:xfrm>
          <a:off x="7906163" y="274530"/>
          <a:ext cx="3466056" cy="1094400"/>
        </a:xfrm>
        <a:prstGeom prst="rect">
          <a:avLst/>
        </a:prstGeom>
        <a:solidFill>
          <a:schemeClr val="accent4">
            <a:lumMod val="75000"/>
          </a:schemeClr>
        </a:solidFill>
        <a:ln w="9525" cap="flat" cmpd="sng" algn="ctr">
          <a:solidFill>
            <a:schemeClr val="accent5">
              <a:hueOff val="724907"/>
              <a:satOff val="34684"/>
              <a:lumOff val="-25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0256" tIns="154432" rIns="270256" bIns="154432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MAIN USER</a:t>
          </a:r>
          <a:endParaRPr lang="en-ID" sz="3800" kern="1200" dirty="0"/>
        </a:p>
      </dsp:txBody>
      <dsp:txXfrm>
        <a:off x="7906163" y="274530"/>
        <a:ext cx="3466056" cy="1094400"/>
      </dsp:txXfrm>
    </dsp:sp>
    <dsp:sp modelId="{A4E8F572-A4DA-480D-ABE8-7B3C4C56B4CC}">
      <dsp:nvSpPr>
        <dsp:cNvPr id="0" name=""/>
        <dsp:cNvSpPr/>
      </dsp:nvSpPr>
      <dsp:spPr>
        <a:xfrm>
          <a:off x="7906163" y="1368930"/>
          <a:ext cx="3466056" cy="3755159"/>
        </a:xfrm>
        <a:prstGeom prst="rect">
          <a:avLst/>
        </a:prstGeom>
        <a:solidFill>
          <a:schemeClr val="accent5">
            <a:tint val="40000"/>
            <a:alpha val="90000"/>
            <a:hueOff val="997434"/>
            <a:satOff val="-1123"/>
            <a:lumOff val="-4099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997434"/>
              <a:satOff val="-1123"/>
              <a:lumOff val="-409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lakukan</a:t>
          </a:r>
          <a:r>
            <a:rPr lang="en-US" sz="1800" kern="1200" dirty="0"/>
            <a:t> request </a:t>
          </a:r>
          <a:r>
            <a:rPr lang="en-US" sz="1800" kern="1200" dirty="0" err="1"/>
            <a:t>konseling</a:t>
          </a:r>
          <a:r>
            <a:rPr lang="en-US" sz="1800" kern="1200" dirty="0"/>
            <a:t> </a:t>
          </a:r>
          <a:r>
            <a:rPr lang="en-US" sz="1800" kern="1200" dirty="0" err="1"/>
            <a:t>dengan</a:t>
          </a:r>
          <a:r>
            <a:rPr lang="en-US" sz="1800" kern="1200" dirty="0"/>
            <a:t> </a:t>
          </a:r>
          <a:r>
            <a:rPr lang="en-US" sz="1800" kern="1200" dirty="0" err="1"/>
            <a:t>Psikiater</a:t>
          </a:r>
          <a:r>
            <a:rPr lang="en-US" sz="1800" kern="1200" dirty="0"/>
            <a:t> dan </a:t>
          </a:r>
          <a:r>
            <a:rPr lang="en-US" sz="1800" kern="1200" dirty="0" err="1"/>
            <a:t>Mahasiswa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mbuat</a:t>
          </a:r>
          <a:r>
            <a:rPr lang="en-US" sz="1800" kern="1200" dirty="0"/>
            <a:t> forum </a:t>
          </a:r>
          <a:r>
            <a:rPr lang="en-US" sz="1800" kern="1200" dirty="0" err="1"/>
            <a:t>diskusi</a:t>
          </a:r>
          <a:r>
            <a:rPr lang="en-US" sz="1800" kern="1200" dirty="0"/>
            <a:t> </a:t>
          </a:r>
          <a:r>
            <a:rPr lang="en-US" sz="1800" kern="1200" dirty="0" err="1"/>
            <a:t>terbuka</a:t>
          </a:r>
          <a:r>
            <a:rPr lang="en-US" sz="1800" kern="1200" dirty="0"/>
            <a:t> di </a:t>
          </a:r>
          <a:r>
            <a:rPr lang="en-US" sz="1800" kern="1200" dirty="0" err="1"/>
            <a:t>fitur</a:t>
          </a:r>
          <a:r>
            <a:rPr lang="en-US" sz="1800" kern="1200" dirty="0"/>
            <a:t> Mind Map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Menikmati</a:t>
          </a:r>
          <a:r>
            <a:rPr lang="en-US" sz="1800" kern="1200" dirty="0"/>
            <a:t> </a:t>
          </a:r>
          <a:r>
            <a:rPr lang="en-US" sz="1800" kern="1200" dirty="0" err="1"/>
            <a:t>fitur</a:t>
          </a:r>
          <a:r>
            <a:rPr lang="en-US" sz="1800" kern="1200" dirty="0"/>
            <a:t> </a:t>
          </a:r>
          <a:r>
            <a:rPr lang="en-US" sz="1800" kern="1200" dirty="0" err="1"/>
            <a:t>layanan</a:t>
          </a:r>
          <a:r>
            <a:rPr lang="en-US" sz="1800" kern="1200" dirty="0"/>
            <a:t> Mastermind</a:t>
          </a:r>
          <a:endParaRPr lang="en-ID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ID" sz="1800" kern="1200" dirty="0"/>
        </a:p>
      </dsp:txBody>
      <dsp:txXfrm>
        <a:off x="7906163" y="1368930"/>
        <a:ext cx="3466056" cy="37551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10833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75865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09348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29726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951435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61781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31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1/1/2022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  <p:sldLayoutId id="2147483656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jp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jp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jp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jp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0.xml"/><Relationship Id="rId9" Type="http://schemas.openxmlformats.org/officeDocument/2006/relationships/hyperlink" Target="https://svgsilh.com/673ab7/image/1917895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enpec.org.br/oficinas/as-vacinas-e-a-prevencao-de-doencas-infecto-contagiosas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ristinacabal.com/?tag=onlinetools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3.xml"/><Relationship Id="rId9" Type="http://schemas.openxmlformats.org/officeDocument/2006/relationships/hyperlink" Target="https://pixabay.com/en/star-star-icon-modern-web-premium-987445/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60.png"/><Relationship Id="rId18" Type="http://schemas.openxmlformats.org/officeDocument/2006/relationships/slide" Target="slide29.xml"/><Relationship Id="rId3" Type="http://schemas.openxmlformats.org/officeDocument/2006/relationships/tags" Target="../tags/tag10.xml"/><Relationship Id="rId21" Type="http://schemas.openxmlformats.org/officeDocument/2006/relationships/slide" Target="slide4.xml"/><Relationship Id="rId7" Type="http://schemas.openxmlformats.org/officeDocument/2006/relationships/image" Target="../media/image4.emf"/><Relationship Id="rId12" Type="http://schemas.openxmlformats.org/officeDocument/2006/relationships/slide" Target="slide14.xml"/><Relationship Id="rId17" Type="http://schemas.openxmlformats.org/officeDocument/2006/relationships/image" Target="../media/image8.png"/><Relationship Id="rId2" Type="http://schemas.openxmlformats.org/officeDocument/2006/relationships/tags" Target="../tags/tag9.xml"/><Relationship Id="rId16" Type="http://schemas.openxmlformats.org/officeDocument/2006/relationships/image" Target="../media/image70.png"/><Relationship Id="rId20" Type="http://schemas.openxmlformats.org/officeDocument/2006/relationships/image" Target="../media/image9.png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5" Type="http://schemas.openxmlformats.org/officeDocument/2006/relationships/slide" Target="slide22.xml"/><Relationship Id="rId10" Type="http://schemas.openxmlformats.org/officeDocument/2006/relationships/slide" Target="slide10.xml"/><Relationship Id="rId19" Type="http://schemas.openxmlformats.org/officeDocument/2006/relationships/image" Target="../media/image8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0.png"/><Relationship Id="rId14" Type="http://schemas.openxmlformats.org/officeDocument/2006/relationships/image" Target="../media/image7.png"/><Relationship Id="rId22" Type="http://schemas.openxmlformats.org/officeDocument/2006/relationships/image" Target="../media/image9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863600" y="3746500"/>
            <a:ext cx="10749280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9600" dirty="0">
                <a:solidFill>
                  <a:schemeClr val="tx1"/>
                </a:solidFill>
              </a:rPr>
              <a:t>IT</a:t>
            </a:r>
          </a:p>
          <a:p>
            <a:pPr lvl="1">
              <a:lnSpc>
                <a:spcPct val="80000"/>
              </a:lnSpc>
            </a:pPr>
            <a:r>
              <a:rPr lang="en-US" sz="9600" dirty="0">
                <a:solidFill>
                  <a:schemeClr val="accent1"/>
                </a:solidFill>
                <a:latin typeface="+mj-lt"/>
              </a:rPr>
              <a:t>UNPACKED</a:t>
            </a:r>
          </a:p>
        </p:txBody>
      </p:sp>
      <p:pic>
        <p:nvPicPr>
          <p:cNvPr id="35842" name="Picture 2">
            <a:extLst>
              <a:ext uri="{FF2B5EF4-FFF2-40B4-BE49-F238E27FC236}">
                <a16:creationId xmlns:a16="http://schemas.microsoft.com/office/drawing/2014/main" id="{847F0A0E-D132-4DA6-8894-80CCF496D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014" y="3111500"/>
            <a:ext cx="3475652" cy="321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2FB24E-7F1E-494A-B438-AE27A1E9C28A}"/>
              </a:ext>
            </a:extLst>
          </p:cNvPr>
          <p:cNvSpPr txBox="1"/>
          <p:nvPr/>
        </p:nvSpPr>
        <p:spPr>
          <a:xfrm>
            <a:off x="5720443" y="4514691"/>
            <a:ext cx="21463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2400" kern="0" dirty="0"/>
              <a:t>KELOMPOK 3</a:t>
            </a:r>
            <a:endParaRPr lang="en-ID" sz="240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6965" t="191" r="49959" b="-191"/>
          <a:stretch/>
        </p:blipFill>
        <p:spPr>
          <a:xfrm>
            <a:off x="0" y="0"/>
            <a:ext cx="2244132" cy="6884370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0533" r="40533"/>
          <a:stretch/>
        </p:blipFill>
        <p:spPr>
          <a:xfrm>
            <a:off x="2240191" y="0"/>
            <a:ext cx="2236254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E635C0-0A4F-4FF1-AC1C-6F87AFF4380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2569" t="191" r="45693" b="-191"/>
          <a:stretch/>
        </p:blipFill>
        <p:spPr>
          <a:xfrm>
            <a:off x="4476445" y="26504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142696" y="3059668"/>
            <a:ext cx="4838700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ASTERMIN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706203"/>
            <a:ext cx="316943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MASTERMIN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2343655"/>
            <a:ext cx="4309884" cy="323165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dirty="0">
                <a:solidFill>
                  <a:srgbClr val="FF0000"/>
                </a:solidFill>
              </a:rPr>
              <a:t>Mastermind</a:t>
            </a:r>
            <a:r>
              <a:rPr lang="de-DE" altLang="de-DE" dirty="0"/>
              <a:t> merupakan aplikasi untuk mempermudah masyarakat khususnya generasi muda untuk mendapatkan layanan konseling tentang keseshatan mental hanya melalui smartphone.</a:t>
            </a:r>
          </a:p>
          <a:p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ACTICE</a:t>
            </a:r>
          </a:p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Y</a:t>
            </a:r>
          </a:p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JOYFU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915" r="22887"/>
          <a:stretch/>
        </p:blipFill>
        <p:spPr>
          <a:xfrm>
            <a:off x="0" y="-134"/>
            <a:ext cx="6716640" cy="6858134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0 L 1.03372 -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680" y="-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59259E-6 L 0.44271 -0.0134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61" y="-6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-4.81481E-6 L 0.42018 -0.0025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03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7296" r="17296"/>
          <a:stretch/>
        </p:blipFill>
        <p:spPr>
          <a:xfrm>
            <a:off x="5475360" y="0"/>
            <a:ext cx="6716640" cy="6858000"/>
          </a:xfrm>
          <a:prstGeom prst="rect">
            <a:avLst/>
          </a:prstGeom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D1399B-8C0E-437A-B3D4-F9A7C8748BCE}"/>
              </a:ext>
            </a:extLst>
          </p:cNvPr>
          <p:cNvSpPr txBox="1"/>
          <p:nvPr/>
        </p:nvSpPr>
        <p:spPr>
          <a:xfrm>
            <a:off x="342900" y="1107873"/>
            <a:ext cx="3169436" cy="86177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TUJUAN</a:t>
            </a:r>
          </a:p>
          <a:p>
            <a:r>
              <a:rPr lang="de-DE" altLang="de-DE" sz="2800" spc="300" dirty="0"/>
              <a:t>MASTERMI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14AE1C-7D55-49BC-8234-C3D89FB2B123}"/>
              </a:ext>
            </a:extLst>
          </p:cNvPr>
          <p:cNvSpPr txBox="1"/>
          <p:nvPr/>
        </p:nvSpPr>
        <p:spPr>
          <a:xfrm>
            <a:off x="342900" y="2302453"/>
            <a:ext cx="4965700" cy="360098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ID" dirty="0" err="1">
                <a:solidFill>
                  <a:srgbClr val="FF0000"/>
                </a:solidFill>
              </a:rPr>
              <a:t>Memudahkan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masyarakat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mendapatkan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pengetahuan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tentang</a:t>
            </a:r>
            <a:r>
              <a:rPr lang="en-ID" dirty="0">
                <a:solidFill>
                  <a:srgbClr val="FF0000"/>
                </a:solidFill>
              </a:rPr>
              <a:t> Kesehatan mental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ID" dirty="0" err="1"/>
              <a:t>Memberi</a:t>
            </a:r>
            <a:r>
              <a:rPr lang="en-ID" dirty="0"/>
              <a:t> </a:t>
            </a:r>
            <a:r>
              <a:rPr lang="en-ID" dirty="0" err="1"/>
              <a:t>wadah</a:t>
            </a:r>
            <a:r>
              <a:rPr lang="en-ID" dirty="0"/>
              <a:t> </a:t>
            </a:r>
            <a:r>
              <a:rPr lang="en-ID" dirty="0" err="1"/>
              <a:t>bagi</a:t>
            </a:r>
            <a:r>
              <a:rPr lang="en-ID" dirty="0"/>
              <a:t> para </a:t>
            </a:r>
            <a:r>
              <a:rPr lang="en-ID" dirty="0" err="1"/>
              <a:t>penderita</a:t>
            </a:r>
            <a:r>
              <a:rPr lang="en-ID" dirty="0"/>
              <a:t> </a:t>
            </a:r>
            <a:r>
              <a:rPr lang="en-ID" dirty="0" err="1"/>
              <a:t>untuk</a:t>
            </a:r>
            <a:r>
              <a:rPr lang="en-ID" dirty="0"/>
              <a:t> </a:t>
            </a:r>
            <a:r>
              <a:rPr lang="en-ID" dirty="0" err="1"/>
              <a:t>mendapatkan</a:t>
            </a:r>
            <a:r>
              <a:rPr lang="en-ID" dirty="0"/>
              <a:t> </a:t>
            </a:r>
            <a:r>
              <a:rPr lang="en-ID" dirty="0" err="1"/>
              <a:t>bimbingan</a:t>
            </a:r>
            <a:r>
              <a:rPr lang="en-ID" dirty="0"/>
              <a:t> </a:t>
            </a:r>
            <a:r>
              <a:rPr lang="en-ID" dirty="0" err="1"/>
              <a:t>konseling</a:t>
            </a:r>
            <a:r>
              <a:rPr lang="en-ID" dirty="0"/>
              <a:t> </a:t>
            </a:r>
            <a:r>
              <a:rPr lang="en-ID" dirty="0" err="1"/>
              <a:t>secara</a:t>
            </a:r>
            <a:r>
              <a:rPr lang="en-ID" dirty="0"/>
              <a:t> </a:t>
            </a:r>
            <a:r>
              <a:rPr lang="en-ID" dirty="0" err="1"/>
              <a:t>mudah</a:t>
            </a:r>
            <a:endParaRPr lang="en-ID" dirty="0"/>
          </a:p>
          <a:p>
            <a:pPr marL="342900" lvl="0" indent="-342900">
              <a:buFont typeface="+mj-lt"/>
              <a:buAutoNum type="arabicPeriod"/>
            </a:pPr>
            <a:r>
              <a:rPr lang="en-ID" dirty="0" err="1">
                <a:solidFill>
                  <a:srgbClr val="FF0000"/>
                </a:solidFill>
              </a:rPr>
              <a:t>Memberi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ruang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kepada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penderita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untuk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saling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berbagi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pengalaman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mereka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terkait</a:t>
            </a:r>
            <a:r>
              <a:rPr lang="en-ID" dirty="0">
                <a:solidFill>
                  <a:srgbClr val="FF0000"/>
                </a:solidFill>
              </a:rPr>
              <a:t> Kesehatan mental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ID" dirty="0" err="1"/>
              <a:t>Memberi</a:t>
            </a:r>
            <a:r>
              <a:rPr lang="en-ID" dirty="0"/>
              <a:t> </a:t>
            </a:r>
            <a:r>
              <a:rPr lang="en-ID" dirty="0" err="1"/>
              <a:t>wadah</a:t>
            </a:r>
            <a:r>
              <a:rPr lang="en-ID" dirty="0"/>
              <a:t> </a:t>
            </a:r>
            <a:r>
              <a:rPr lang="en-ID" dirty="0" err="1"/>
              <a:t>kepada</a:t>
            </a:r>
            <a:r>
              <a:rPr lang="en-ID" dirty="0"/>
              <a:t> </a:t>
            </a:r>
            <a:r>
              <a:rPr lang="en-ID" dirty="0" err="1"/>
              <a:t>mahasiswa</a:t>
            </a:r>
            <a:r>
              <a:rPr lang="en-ID" dirty="0"/>
              <a:t> </a:t>
            </a:r>
            <a:r>
              <a:rPr lang="en-ID" dirty="0" err="1"/>
              <a:t>psikologi</a:t>
            </a:r>
            <a:r>
              <a:rPr lang="en-ID" dirty="0"/>
              <a:t> </a:t>
            </a:r>
            <a:r>
              <a:rPr lang="en-ID" dirty="0" err="1"/>
              <a:t>untuk</a:t>
            </a:r>
            <a:r>
              <a:rPr lang="en-ID" dirty="0"/>
              <a:t> </a:t>
            </a:r>
            <a:r>
              <a:rPr lang="en-ID" dirty="0" err="1"/>
              <a:t>mempelajari</a:t>
            </a:r>
            <a:r>
              <a:rPr lang="en-ID" dirty="0"/>
              <a:t> </a:t>
            </a:r>
            <a:r>
              <a:rPr lang="en-ID" dirty="0" err="1"/>
              <a:t>lebih</a:t>
            </a:r>
            <a:r>
              <a:rPr lang="en-ID" dirty="0"/>
              <a:t> </a:t>
            </a:r>
            <a:r>
              <a:rPr lang="en-ID" dirty="0" err="1"/>
              <a:t>lanjut</a:t>
            </a:r>
            <a:r>
              <a:rPr lang="en-ID" dirty="0"/>
              <a:t> </a:t>
            </a:r>
            <a:r>
              <a:rPr lang="en-ID" dirty="0" err="1"/>
              <a:t>tentang</a:t>
            </a:r>
            <a:r>
              <a:rPr lang="en-ID" dirty="0"/>
              <a:t> </a:t>
            </a:r>
            <a:r>
              <a:rPr lang="en-ID" dirty="0" err="1"/>
              <a:t>studi</a:t>
            </a:r>
            <a:r>
              <a:rPr lang="en-ID" dirty="0"/>
              <a:t> </a:t>
            </a:r>
            <a:r>
              <a:rPr lang="en-ID" dirty="0" err="1"/>
              <a:t>kesehatan</a:t>
            </a:r>
            <a:r>
              <a:rPr lang="en-ID" dirty="0"/>
              <a:t> mental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ID" dirty="0" err="1">
                <a:solidFill>
                  <a:srgbClr val="FF0000"/>
                </a:solidFill>
              </a:rPr>
              <a:t>Memberi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ruang</a:t>
            </a:r>
            <a:r>
              <a:rPr lang="en-ID" dirty="0">
                <a:solidFill>
                  <a:srgbClr val="FF0000"/>
                </a:solidFill>
              </a:rPr>
              <a:t> para </a:t>
            </a:r>
            <a:r>
              <a:rPr lang="en-ID" dirty="0" err="1">
                <a:solidFill>
                  <a:srgbClr val="FF0000"/>
                </a:solidFill>
              </a:rPr>
              <a:t>mahasiswa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psikologi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untuk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melakukan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riset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seputar</a:t>
            </a:r>
            <a:r>
              <a:rPr lang="en-ID" dirty="0">
                <a:solidFill>
                  <a:srgbClr val="FF0000"/>
                </a:solidFill>
              </a:rPr>
              <a:t> </a:t>
            </a:r>
            <a:r>
              <a:rPr lang="en-ID" dirty="0" err="1">
                <a:solidFill>
                  <a:srgbClr val="FF0000"/>
                </a:solidFill>
              </a:rPr>
              <a:t>psikologi</a:t>
            </a:r>
            <a:endParaRPr lang="en-ID" dirty="0">
              <a:solidFill>
                <a:srgbClr val="FF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36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0443 -0.00093 L 8.33333E-7 4.07407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221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90E904-BB2F-8947-1F95-09FA4C78303D}"/>
              </a:ext>
            </a:extLst>
          </p:cNvPr>
          <p:cNvSpPr txBox="1"/>
          <p:nvPr/>
        </p:nvSpPr>
        <p:spPr>
          <a:xfrm>
            <a:off x="4270512" y="3013501"/>
            <a:ext cx="3650975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5400" kern="0" dirty="0">
                <a:solidFill>
                  <a:srgbClr val="FF0000"/>
                </a:solidFill>
                <a:latin typeface="+mj-lt"/>
                <a:cs typeface="Segoe UI Semibold" panose="020B0702040204020203" pitchFamily="34" charset="0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4514121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671283" y="1460381"/>
            <a:ext cx="218322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HAT LAB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711" t="176" r="3532" b="-176"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5838" b="15838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CFF152-B368-C195-B99A-3D882059CF8A}"/>
              </a:ext>
            </a:extLst>
          </p:cNvPr>
          <p:cNvSpPr txBox="1"/>
          <p:nvPr/>
        </p:nvSpPr>
        <p:spPr>
          <a:xfrm>
            <a:off x="709515" y="2088107"/>
            <a:ext cx="5047711" cy="249299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t Labs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rupak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tur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komunikasi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angsung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hasisw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upu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sam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derit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sistem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pesan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langsung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2159245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MIND MAP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0776" t="-561" r="2468" b="561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5838" b="15838"/>
          <a:stretch/>
        </p:blipFill>
        <p:spPr>
          <a:xfrm>
            <a:off x="558207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01ECC00-E669-F260-20FD-58CF009A2DE8}"/>
              </a:ext>
            </a:extLst>
          </p:cNvPr>
          <p:cNvSpPr txBox="1"/>
          <p:nvPr/>
        </p:nvSpPr>
        <p:spPr>
          <a:xfrm>
            <a:off x="5421214" y="1951630"/>
            <a:ext cx="6212579" cy="323165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nd Map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rupak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tur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bagi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erit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alam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pad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sam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derit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gar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rek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is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aling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tukar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erit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ID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Mind Map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mirip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seperti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sistem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i="1" dirty="0">
                <a:ea typeface="Calibri" panose="020F0502020204030204" pitchFamily="34" charset="0"/>
                <a:cs typeface="Times New Roman" panose="02020603050405020304" pitchFamily="18" charset="0"/>
              </a:rPr>
              <a:t>feed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pada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sosial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media pada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umunya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namun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dikhusukan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2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a typeface="Calibri" panose="020F0502020204030204" pitchFamily="34" charset="0"/>
                <a:cs typeface="Times New Roman" panose="02020603050405020304" pitchFamily="18" charset="0"/>
              </a:rPr>
              <a:t>berdiskusi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234551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SPACE LABS</a:t>
            </a: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6612" b="16612"/>
          <a:stretch/>
        </p:blipFill>
        <p:spPr>
          <a:xfrm>
            <a:off x="484536" y="1683655"/>
            <a:ext cx="4531902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125C68-12DC-6A4A-DF5B-AB49C954341E}"/>
              </a:ext>
            </a:extLst>
          </p:cNvPr>
          <p:cNvSpPr txBox="1"/>
          <p:nvPr/>
        </p:nvSpPr>
        <p:spPr>
          <a:xfrm>
            <a:off x="5421214" y="2006221"/>
            <a:ext cx="5988314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pace Labs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is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diskusik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salah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ehat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ental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ktivis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dan para </a:t>
            </a:r>
            <a:r>
              <a:rPr lang="en-ID" sz="2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lain. 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400" kern="0" dirty="0">
              <a:cs typeface="Times New Roman" panose="02020603050405020304" pitchFamily="18" charset="0"/>
            </a:endParaRPr>
          </a:p>
          <a:p>
            <a:pPr algn="l"/>
            <a:r>
              <a:rPr lang="en-US" sz="2400" kern="0" dirty="0" err="1">
                <a:cs typeface="Times New Roman" panose="02020603050405020304" pitchFamily="18" charset="0"/>
              </a:rPr>
              <a:t>Dengan</a:t>
            </a:r>
            <a:r>
              <a:rPr lang="en-US" sz="2400" kern="0" dirty="0">
                <a:cs typeface="Times New Roman" panose="02020603050405020304" pitchFamily="18" charset="0"/>
              </a:rPr>
              <a:t> Space Labs para </a:t>
            </a:r>
            <a:r>
              <a:rPr lang="en-US" sz="2400" kern="0" dirty="0" err="1">
                <a:cs typeface="Times New Roman" panose="02020603050405020304" pitchFamily="18" charset="0"/>
              </a:rPr>
              <a:t>pengguna</a:t>
            </a:r>
            <a:r>
              <a:rPr lang="en-US" sz="2400" kern="0" dirty="0"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cs typeface="Times New Roman" panose="02020603050405020304" pitchFamily="18" charset="0"/>
              </a:rPr>
              <a:t>bisa</a:t>
            </a:r>
            <a:r>
              <a:rPr lang="en-US" sz="2400" kern="0" dirty="0">
                <a:cs typeface="Times New Roman" panose="02020603050405020304" pitchFamily="18" charset="0"/>
              </a:rPr>
              <a:t>  </a:t>
            </a:r>
            <a:r>
              <a:rPr lang="en-US" sz="2400" kern="0" dirty="0" err="1">
                <a:cs typeface="Times New Roman" panose="02020603050405020304" pitchFamily="18" charset="0"/>
              </a:rPr>
              <a:t>mengikuti</a:t>
            </a:r>
            <a:r>
              <a:rPr lang="en-US" sz="2400" kern="0" dirty="0">
                <a:cs typeface="Times New Roman" panose="02020603050405020304" pitchFamily="18" charset="0"/>
              </a:rPr>
              <a:t> seminar online yang </a:t>
            </a:r>
            <a:r>
              <a:rPr lang="en-US" sz="2400" kern="0" dirty="0" err="1">
                <a:cs typeface="Times New Roman" panose="02020603050405020304" pitchFamily="18" charset="0"/>
              </a:rPr>
              <a:t>dibuat</a:t>
            </a:r>
            <a:r>
              <a:rPr lang="en-US" sz="2400" kern="0" dirty="0">
                <a:cs typeface="Times New Roman" panose="02020603050405020304" pitchFamily="18" charset="0"/>
              </a:rPr>
              <a:t> oleh </a:t>
            </a:r>
            <a:r>
              <a:rPr lang="en-US" sz="2400" kern="0" dirty="0" err="1">
                <a:cs typeface="Times New Roman" panose="02020603050405020304" pitchFamily="18" charset="0"/>
              </a:rPr>
              <a:t>Psikiater</a:t>
            </a:r>
            <a:r>
              <a:rPr lang="en-US" sz="2400" kern="0" dirty="0"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cs typeface="Times New Roman" panose="02020603050405020304" pitchFamily="18" charset="0"/>
              </a:rPr>
              <a:t>atau</a:t>
            </a:r>
            <a:r>
              <a:rPr lang="en-US" sz="2400" kern="0" dirty="0"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cs typeface="Times New Roman" panose="02020603050405020304" pitchFamily="18" charset="0"/>
              </a:rPr>
              <a:t>Mahasiswa</a:t>
            </a:r>
            <a:r>
              <a:rPr lang="en-US" sz="2400" kern="0" dirty="0"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cs typeface="Times New Roman" panose="02020603050405020304" pitchFamily="18" charset="0"/>
              </a:rPr>
              <a:t>melalui</a:t>
            </a:r>
            <a:r>
              <a:rPr lang="en-US" sz="2400" kern="0" dirty="0">
                <a:cs typeface="Times New Roman" panose="02020603050405020304" pitchFamily="18" charset="0"/>
              </a:rPr>
              <a:t> </a:t>
            </a:r>
            <a:r>
              <a:rPr lang="en-US" sz="2400" i="1" kern="0" dirty="0">
                <a:cs typeface="Times New Roman" panose="02020603050405020304" pitchFamily="18" charset="0"/>
              </a:rPr>
              <a:t>video conference.</a:t>
            </a:r>
            <a:endParaRPr lang="en-US" i="1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225991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tx1">
                    <a:lumMod val="75000"/>
                  </a:schemeClr>
                </a:solidFill>
              </a:rPr>
              <a:t>BOOK LABS</a:t>
            </a: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36944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81333" y="5809130"/>
            <a:ext cx="228600" cy="228600"/>
          </a:xfrm>
          <a:prstGeom prst="ellipse">
            <a:avLst/>
          </a:prstGeom>
          <a:solidFill>
            <a:schemeClr val="tx1">
              <a:lumMod val="7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684" r="16684"/>
          <a:stretch/>
        </p:blipFill>
        <p:spPr>
          <a:xfrm>
            <a:off x="484536" y="1683656"/>
            <a:ext cx="4531902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125C68-12DC-6A4A-DF5B-AB49C954341E}"/>
              </a:ext>
            </a:extLst>
          </p:cNvPr>
          <p:cNvSpPr txBox="1"/>
          <p:nvPr/>
        </p:nvSpPr>
        <p:spPr>
          <a:xfrm>
            <a:off x="5421214" y="2006221"/>
            <a:ext cx="5988314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2400" dirty="0"/>
              <a:t>Book Labs </a:t>
            </a:r>
            <a:r>
              <a:rPr lang="en-ID" sz="2400" dirty="0" err="1"/>
              <a:t>merupakan</a:t>
            </a:r>
            <a:r>
              <a:rPr lang="en-ID" sz="2400" dirty="0"/>
              <a:t> </a:t>
            </a:r>
            <a:r>
              <a:rPr lang="en-ID" sz="2400" dirty="0" err="1"/>
              <a:t>fitur</a:t>
            </a:r>
            <a:r>
              <a:rPr lang="en-ID" sz="2400" dirty="0"/>
              <a:t> </a:t>
            </a:r>
            <a:r>
              <a:rPr lang="en-ID" sz="2400" dirty="0" err="1"/>
              <a:t>untuk</a:t>
            </a:r>
            <a:r>
              <a:rPr lang="en-ID" sz="2400" dirty="0"/>
              <a:t> para </a:t>
            </a:r>
            <a:r>
              <a:rPr lang="en-ID" sz="2400" dirty="0" err="1"/>
              <a:t>pengguna</a:t>
            </a:r>
            <a:r>
              <a:rPr lang="en-ID" sz="2400" dirty="0"/>
              <a:t> </a:t>
            </a:r>
            <a:r>
              <a:rPr lang="en-ID" sz="2400" dirty="0" err="1"/>
              <a:t>berbagi</a:t>
            </a:r>
            <a:r>
              <a:rPr lang="en-ID" sz="2400" dirty="0"/>
              <a:t> e-book </a:t>
            </a:r>
            <a:r>
              <a:rPr lang="en-ID" sz="2400" dirty="0" err="1"/>
              <a:t>mengenai</a:t>
            </a:r>
            <a:r>
              <a:rPr lang="en-ID" sz="2400" dirty="0"/>
              <a:t> </a:t>
            </a:r>
            <a:r>
              <a:rPr lang="en-ID" sz="2400" dirty="0" err="1"/>
              <a:t>kesehatan</a:t>
            </a:r>
            <a:r>
              <a:rPr lang="en-ID" sz="2400" dirty="0"/>
              <a:t> mental, yang mana </a:t>
            </a:r>
            <a:r>
              <a:rPr lang="en-ID" sz="2400" dirty="0" err="1"/>
              <a:t>fitur</a:t>
            </a:r>
            <a:r>
              <a:rPr lang="en-ID" sz="2400" dirty="0"/>
              <a:t> </a:t>
            </a:r>
            <a:r>
              <a:rPr lang="en-ID" sz="2400" dirty="0" err="1"/>
              <a:t>ini</a:t>
            </a:r>
            <a:r>
              <a:rPr lang="en-ID" sz="2400" dirty="0"/>
              <a:t> </a:t>
            </a:r>
            <a:r>
              <a:rPr lang="en-ID" sz="2400" dirty="0" err="1"/>
              <a:t>terhubung</a:t>
            </a:r>
            <a:r>
              <a:rPr lang="en-ID" sz="2400" dirty="0"/>
              <a:t> </a:t>
            </a:r>
            <a:r>
              <a:rPr lang="en-ID" sz="2400" dirty="0" err="1"/>
              <a:t>dengan</a:t>
            </a:r>
            <a:r>
              <a:rPr lang="en-ID" sz="2400" dirty="0"/>
              <a:t> </a:t>
            </a:r>
            <a:r>
              <a:rPr lang="en-ID" sz="2400" dirty="0" err="1"/>
              <a:t>layanan</a:t>
            </a:r>
            <a:r>
              <a:rPr lang="en-ID" sz="2400" dirty="0"/>
              <a:t> </a:t>
            </a:r>
            <a:r>
              <a:rPr lang="en-ID" sz="2400" dirty="0" err="1"/>
              <a:t>baca</a:t>
            </a:r>
            <a:r>
              <a:rPr lang="en-ID" sz="2400" dirty="0"/>
              <a:t> </a:t>
            </a:r>
            <a:r>
              <a:rPr lang="en-ID" sz="2400" dirty="0" err="1"/>
              <a:t>buku</a:t>
            </a:r>
            <a:r>
              <a:rPr lang="en-ID" sz="2400" dirty="0"/>
              <a:t> online (Scribd)</a:t>
            </a:r>
          </a:p>
          <a:p>
            <a:endParaRPr lang="en-ID" sz="2400" dirty="0"/>
          </a:p>
          <a:p>
            <a:r>
              <a:rPr lang="en-ID" sz="2400" dirty="0" err="1"/>
              <a:t>Dengan</a:t>
            </a:r>
            <a:r>
              <a:rPr lang="en-ID" sz="2400" dirty="0"/>
              <a:t> </a:t>
            </a:r>
            <a:r>
              <a:rPr lang="en-ID" sz="2400" dirty="0" err="1"/>
              <a:t>adanya</a:t>
            </a:r>
            <a:r>
              <a:rPr lang="en-ID" sz="2400" dirty="0"/>
              <a:t> </a:t>
            </a:r>
            <a:r>
              <a:rPr lang="en-ID" sz="2400" dirty="0" err="1"/>
              <a:t>fitur</a:t>
            </a:r>
            <a:r>
              <a:rPr lang="en-ID" sz="2400" dirty="0"/>
              <a:t> Book Labs, kami </a:t>
            </a:r>
            <a:r>
              <a:rPr lang="en-ID" sz="2400" dirty="0" err="1"/>
              <a:t>berharap</a:t>
            </a:r>
            <a:r>
              <a:rPr lang="en-ID" sz="2400" dirty="0"/>
              <a:t> </a:t>
            </a:r>
            <a:r>
              <a:rPr lang="en-ID" sz="2400" dirty="0" err="1"/>
              <a:t>bisa</a:t>
            </a:r>
            <a:r>
              <a:rPr lang="en-ID" sz="2400" dirty="0"/>
              <a:t> </a:t>
            </a:r>
            <a:r>
              <a:rPr lang="en-ID" sz="2400" dirty="0" err="1"/>
              <a:t>meningkatkan</a:t>
            </a:r>
            <a:r>
              <a:rPr lang="en-ID" sz="2400" dirty="0"/>
              <a:t> </a:t>
            </a:r>
            <a:r>
              <a:rPr lang="en-ID" sz="2400" dirty="0" err="1"/>
              <a:t>budaya</a:t>
            </a:r>
            <a:r>
              <a:rPr lang="en-ID" sz="2400" dirty="0"/>
              <a:t> </a:t>
            </a:r>
            <a:r>
              <a:rPr lang="en-ID" sz="2400" dirty="0" err="1"/>
              <a:t>membaca</a:t>
            </a:r>
            <a:r>
              <a:rPr lang="en-ID" sz="2400" dirty="0"/>
              <a:t> </a:t>
            </a:r>
            <a:r>
              <a:rPr lang="en-ID" sz="2400" dirty="0" err="1"/>
              <a:t>masyarakat</a:t>
            </a:r>
            <a:r>
              <a:rPr lang="en-ID" sz="2400" dirty="0"/>
              <a:t> Indonesia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7255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  <p:bldP spid="18" grpId="0" animBg="1"/>
      <p:bldP spid="19" grpId="0" animBg="1"/>
      <p:bldP spid="20" grpId="0" animBg="1"/>
      <p:bldP spid="21" grpId="0" animBg="1"/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1736181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EET UP</a:t>
            </a: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36944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8393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307" t="292" r="135" b="-292"/>
          <a:stretch/>
        </p:blipFill>
        <p:spPr>
          <a:xfrm>
            <a:off x="484536" y="1683656"/>
            <a:ext cx="4531902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125C68-12DC-6A4A-DF5B-AB49C954341E}"/>
              </a:ext>
            </a:extLst>
          </p:cNvPr>
          <p:cNvSpPr txBox="1"/>
          <p:nvPr/>
        </p:nvSpPr>
        <p:spPr>
          <a:xfrm>
            <a:off x="5421214" y="1968732"/>
            <a:ext cx="5988314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2400" dirty="0"/>
              <a:t>Fitur </a:t>
            </a:r>
            <a:r>
              <a:rPr lang="en-ID" sz="2400" dirty="0" err="1"/>
              <a:t>ini</a:t>
            </a:r>
            <a:r>
              <a:rPr lang="en-ID" sz="2400" dirty="0"/>
              <a:t> </a:t>
            </a:r>
            <a:r>
              <a:rPr lang="en-ID" sz="2400" dirty="0" err="1"/>
              <a:t>bertujuan</a:t>
            </a:r>
            <a:r>
              <a:rPr lang="en-ID" sz="2400" dirty="0"/>
              <a:t> </a:t>
            </a:r>
            <a:r>
              <a:rPr lang="en-ID" sz="2400" dirty="0" err="1"/>
              <a:t>untuk</a:t>
            </a:r>
            <a:r>
              <a:rPr lang="en-ID" sz="2400" dirty="0"/>
              <a:t> para </a:t>
            </a:r>
            <a:r>
              <a:rPr lang="en-ID" sz="2400" dirty="0" err="1"/>
              <a:t>pengguna</a:t>
            </a:r>
            <a:r>
              <a:rPr lang="en-ID" sz="2400" dirty="0"/>
              <a:t> </a:t>
            </a:r>
            <a:r>
              <a:rPr lang="en-ID" sz="2400" dirty="0" err="1"/>
              <a:t>membuat</a:t>
            </a:r>
            <a:r>
              <a:rPr lang="en-ID" sz="2400" dirty="0"/>
              <a:t> </a:t>
            </a:r>
            <a:r>
              <a:rPr lang="en-ID" sz="2400" dirty="0" err="1"/>
              <a:t>janji</a:t>
            </a:r>
            <a:r>
              <a:rPr lang="en-ID" sz="2400" dirty="0"/>
              <a:t> </a:t>
            </a:r>
            <a:r>
              <a:rPr lang="en-ID" sz="2400" dirty="0" err="1"/>
              <a:t>dengan</a:t>
            </a:r>
            <a:r>
              <a:rPr lang="en-ID" sz="2400" dirty="0"/>
              <a:t> para </a:t>
            </a:r>
            <a:r>
              <a:rPr lang="en-ID" sz="2400" dirty="0" err="1"/>
              <a:t>pakar</a:t>
            </a:r>
            <a:r>
              <a:rPr lang="en-ID" sz="2400" dirty="0"/>
              <a:t> </a:t>
            </a:r>
            <a:r>
              <a:rPr lang="en-ID" sz="2400" dirty="0" err="1"/>
              <a:t>psikologi</a:t>
            </a:r>
            <a:r>
              <a:rPr lang="en-ID" sz="2400" dirty="0"/>
              <a:t> </a:t>
            </a:r>
            <a:r>
              <a:rPr lang="en-ID" sz="2400" dirty="0" err="1"/>
              <a:t>untuk</a:t>
            </a:r>
            <a:r>
              <a:rPr lang="en-ID" sz="2400" dirty="0"/>
              <a:t> </a:t>
            </a:r>
            <a:r>
              <a:rPr lang="en-ID" sz="2400" dirty="0" err="1"/>
              <a:t>bertemu</a:t>
            </a:r>
            <a:r>
              <a:rPr lang="en-ID" sz="2400" dirty="0"/>
              <a:t> dan </a:t>
            </a:r>
            <a:r>
              <a:rPr lang="en-ID" sz="2400" dirty="0" err="1"/>
              <a:t>mendapatkan</a:t>
            </a:r>
            <a:r>
              <a:rPr lang="en-ID" sz="2400" dirty="0"/>
              <a:t> </a:t>
            </a:r>
            <a:r>
              <a:rPr lang="en-ID" sz="2400" dirty="0" err="1"/>
              <a:t>konseling</a:t>
            </a:r>
            <a:r>
              <a:rPr lang="en-ID" sz="2400" dirty="0"/>
              <a:t> </a:t>
            </a:r>
            <a:r>
              <a:rPr lang="en-ID" sz="2400" dirty="0" err="1"/>
              <a:t>secara</a:t>
            </a:r>
            <a:r>
              <a:rPr lang="en-ID" sz="2400" dirty="0"/>
              <a:t> </a:t>
            </a:r>
            <a:r>
              <a:rPr lang="en-ID" sz="2400" dirty="0" err="1"/>
              <a:t>langsung</a:t>
            </a:r>
            <a:endParaRPr lang="en-ID" sz="2400" dirty="0"/>
          </a:p>
          <a:p>
            <a:endParaRPr lang="en-ID" sz="2400" dirty="0"/>
          </a:p>
          <a:p>
            <a:r>
              <a:rPr lang="en-ID" sz="2400" dirty="0"/>
              <a:t>Fitur Meet Up sangat </a:t>
            </a:r>
            <a:r>
              <a:rPr lang="en-ID" sz="2400" dirty="0" err="1"/>
              <a:t>memudahkan</a:t>
            </a:r>
            <a:r>
              <a:rPr lang="en-ID" sz="2400" dirty="0"/>
              <a:t> </a:t>
            </a:r>
            <a:r>
              <a:rPr lang="en-ID" sz="2400" dirty="0" err="1"/>
              <a:t>pengguna</a:t>
            </a:r>
            <a:r>
              <a:rPr lang="en-ID" sz="2400" dirty="0"/>
              <a:t> </a:t>
            </a:r>
            <a:r>
              <a:rPr lang="en-ID" sz="2400" dirty="0" err="1"/>
              <a:t>untuk</a:t>
            </a:r>
            <a:r>
              <a:rPr lang="en-ID" sz="2400" dirty="0"/>
              <a:t> </a:t>
            </a:r>
            <a:r>
              <a:rPr lang="en-ID" sz="2400" dirty="0" err="1"/>
              <a:t>membuat</a:t>
            </a:r>
            <a:r>
              <a:rPr lang="en-ID" sz="2400" dirty="0"/>
              <a:t> </a:t>
            </a:r>
            <a:r>
              <a:rPr lang="en-ID" sz="2400" dirty="0" err="1"/>
              <a:t>jadwal</a:t>
            </a:r>
            <a:r>
              <a:rPr lang="en-ID" sz="2400" dirty="0"/>
              <a:t> </a:t>
            </a:r>
            <a:r>
              <a:rPr lang="en-ID" sz="2400" dirty="0" err="1"/>
              <a:t>konseling</a:t>
            </a:r>
            <a:r>
              <a:rPr lang="en-ID" sz="2400" dirty="0"/>
              <a:t> </a:t>
            </a:r>
            <a:r>
              <a:rPr lang="en-ID" sz="2400" dirty="0" err="1"/>
              <a:t>khusus</a:t>
            </a:r>
            <a:r>
              <a:rPr lang="en-ID" sz="2400" dirty="0"/>
              <a:t> </a:t>
            </a:r>
            <a:r>
              <a:rPr lang="en-ID" sz="2400" dirty="0" err="1"/>
              <a:t>tanpa</a:t>
            </a:r>
            <a:r>
              <a:rPr lang="en-ID" sz="2400" dirty="0"/>
              <a:t> </a:t>
            </a:r>
            <a:r>
              <a:rPr lang="en-ID" sz="2400" dirty="0" err="1"/>
              <a:t>perlu</a:t>
            </a:r>
            <a:r>
              <a:rPr lang="en-ID" sz="2400" dirty="0"/>
              <a:t> </a:t>
            </a:r>
            <a:r>
              <a:rPr lang="en-ID" sz="2400" dirty="0" err="1"/>
              <a:t>mengantre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8935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  <p:bldP spid="18" grpId="0" animBg="1"/>
      <p:bldP spid="19" grpId="0" animBg="1"/>
      <p:bldP spid="20" grpId="0" animBg="1"/>
      <p:bldP spid="21" grpId="0" animBg="1"/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3576557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75000"/>
                  </a:schemeClr>
                </a:solidFill>
              </a:rPr>
              <a:t>LIVE COUNSELING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31111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1">
                    <a:lumMod val="50000"/>
                  </a:schemeClr>
                </a:solidFill>
              </a:rPr>
              <a:t>PREMIUM PLA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360098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Mendapatka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rioritas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para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aka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dan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Berkesempat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urasi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hingga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120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per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sesi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Live Counseling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ggunak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video conference di Chat Labs</a:t>
            </a:r>
            <a:endParaRPr lang="de-DE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konseling tak terbatas dengan Psikiater yang berbed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bebas mengikuti seminar online dengan para Psikiater dan Mahasisw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penuh terhadap fitur dan layanan Mastermind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/>
          <a:stretch/>
        </p:blipFill>
        <p:spPr>
          <a:xfrm>
            <a:off x="649657" y="990589"/>
            <a:ext cx="747510" cy="74575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171A1F-D258-CE61-B408-C76A4D0B598A}"/>
              </a:ext>
            </a:extLst>
          </p:cNvPr>
          <p:cNvSpPr txBox="1"/>
          <p:nvPr/>
        </p:nvSpPr>
        <p:spPr>
          <a:xfrm>
            <a:off x="1765302" y="1819274"/>
            <a:ext cx="4145375" cy="40934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mudah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onseling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sikiate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kami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ghadir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stem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Live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unseling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tu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Chat Labs,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man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pat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komunikas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car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angsung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ik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s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text,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s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uar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au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nggil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lepo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n video.</a:t>
            </a:r>
          </a:p>
          <a:p>
            <a:endParaRPr lang="en-ID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ami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rencana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rj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am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sikiate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 Indonesi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kontribus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sam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kami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mbangu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ehat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ental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syarakat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Indonesia yang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ik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140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8136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BDFDCF8-431B-FC3D-6CD7-893EFE287563}"/>
              </a:ext>
            </a:extLst>
          </p:cNvPr>
          <p:cNvSpPr txBox="1"/>
          <p:nvPr/>
        </p:nvSpPr>
        <p:spPr>
          <a:xfrm>
            <a:off x="2188312" y="478730"/>
            <a:ext cx="7580244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3200" kern="0" dirty="0">
                <a:solidFill>
                  <a:srgbClr val="00B0F0"/>
                </a:solidFill>
                <a:latin typeface="+mj-lt"/>
                <a:cs typeface="Segoe UI Semibold" panose="020B0702040204020203" pitchFamily="34" charset="0"/>
              </a:rPr>
              <a:t>ANGGOTA KELOMPOK</a:t>
            </a: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A34D0A94-C66E-164D-1B49-0689DE0A1FDB}"/>
              </a:ext>
            </a:extLst>
          </p:cNvPr>
          <p:cNvSpPr/>
          <p:nvPr/>
        </p:nvSpPr>
        <p:spPr>
          <a:xfrm>
            <a:off x="405312" y="2259872"/>
            <a:ext cx="1946366" cy="1946365"/>
          </a:xfrm>
          <a:prstGeom prst="flowChartConnector">
            <a:avLst/>
          </a:prstGeom>
          <a:blipFill>
            <a:blip r:embed="rId2"/>
            <a:srcRect/>
            <a:stretch>
              <a:fillRect l="-640141" t="-327549" r="-51921" b="-44526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4" name="Flowchart: Connector 3">
            <a:extLst>
              <a:ext uri="{FF2B5EF4-FFF2-40B4-BE49-F238E27FC236}">
                <a16:creationId xmlns:a16="http://schemas.microsoft.com/office/drawing/2014/main" id="{83F301B7-F6F6-CC56-5E3F-DE4E3B9CBF29}"/>
              </a:ext>
            </a:extLst>
          </p:cNvPr>
          <p:cNvSpPr/>
          <p:nvPr/>
        </p:nvSpPr>
        <p:spPr>
          <a:xfrm>
            <a:off x="7476308" y="2259872"/>
            <a:ext cx="1946366" cy="1946365"/>
          </a:xfrm>
          <a:prstGeom prst="flowChartConnector">
            <a:avLst/>
          </a:prstGeom>
          <a:blipFill>
            <a:blip r:embed="rId2"/>
            <a:srcRect/>
            <a:stretch>
              <a:fillRect l="-519352" t="-50030" r="-207970" b="-343057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01CB9391-DF63-E0CD-A1D4-D7E7B2AED9E5}"/>
              </a:ext>
            </a:extLst>
          </p:cNvPr>
          <p:cNvSpPr/>
          <p:nvPr/>
        </p:nvSpPr>
        <p:spPr>
          <a:xfrm>
            <a:off x="5122816" y="2283362"/>
            <a:ext cx="1946366" cy="1946365"/>
          </a:xfrm>
          <a:prstGeom prst="flowChartConnector">
            <a:avLst/>
          </a:prstGeom>
          <a:blipFill>
            <a:blip r:embed="rId2"/>
            <a:srcRect/>
            <a:stretch>
              <a:fillRect l="-219687" t="-206124" r="-539780" b="-206124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01643D42-E204-03EB-02CA-AF59604CD0AB}"/>
              </a:ext>
            </a:extLst>
          </p:cNvPr>
          <p:cNvSpPr/>
          <p:nvPr/>
        </p:nvSpPr>
        <p:spPr>
          <a:xfrm>
            <a:off x="9840685" y="2259873"/>
            <a:ext cx="1946366" cy="1946365"/>
          </a:xfrm>
          <a:prstGeom prst="flowChartConnector">
            <a:avLst/>
          </a:prstGeom>
          <a:blipFill>
            <a:blip r:embed="rId2"/>
            <a:srcRect/>
            <a:stretch>
              <a:fillRect l="-363311" t="-198610" r="-370945" b="-198610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F630211F-F254-8F09-3F0F-191E29F8ECCF}"/>
              </a:ext>
            </a:extLst>
          </p:cNvPr>
          <p:cNvSpPr/>
          <p:nvPr/>
        </p:nvSpPr>
        <p:spPr>
          <a:xfrm>
            <a:off x="2769324" y="2259872"/>
            <a:ext cx="1946366" cy="1946365"/>
          </a:xfrm>
          <a:prstGeom prst="flowChartConnector">
            <a:avLst/>
          </a:prstGeom>
          <a:blipFill>
            <a:blip r:embed="rId2"/>
            <a:srcRect/>
            <a:stretch>
              <a:fillRect l="-49650" t="-183260" r="-633096" b="-183260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93DB7B-6BFB-A7D2-0936-36261F96BD5F}"/>
              </a:ext>
            </a:extLst>
          </p:cNvPr>
          <p:cNvSpPr txBox="1"/>
          <p:nvPr/>
        </p:nvSpPr>
        <p:spPr>
          <a:xfrm>
            <a:off x="101600" y="4628831"/>
            <a:ext cx="2553791" cy="76944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dity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amdhan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22552011115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en-US" sz="1400" kern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EE4A88-597D-ED40-6914-6BF11E7CCDA8}"/>
              </a:ext>
            </a:extLst>
          </p:cNvPr>
          <p:cNvSpPr txBox="1"/>
          <p:nvPr/>
        </p:nvSpPr>
        <p:spPr>
          <a:xfrm>
            <a:off x="4819104" y="4623726"/>
            <a:ext cx="2553791" cy="57092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D" sz="1800" dirty="0" err="1"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Riswanto</a:t>
            </a:r>
            <a:r>
              <a:rPr lang="en-ID" dirty="0"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      </a:t>
            </a:r>
            <a:r>
              <a:rPr lang="en-ID" sz="1800" dirty="0"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22552011095</a:t>
            </a:r>
            <a:endParaRPr lang="en-US" sz="1800" dirty="0">
              <a:effectLst/>
              <a:latin typeface="Segoe UI Semibold" panose="020B0702040204020203" pitchFamily="34" charset="0"/>
              <a:ea typeface="Calibri" panose="020F0502020204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A5FE80-8DF7-CB31-96A4-8EFD695779BA}"/>
              </a:ext>
            </a:extLst>
          </p:cNvPr>
          <p:cNvSpPr txBox="1"/>
          <p:nvPr/>
        </p:nvSpPr>
        <p:spPr>
          <a:xfrm>
            <a:off x="2467792" y="4639467"/>
            <a:ext cx="2553791" cy="57810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. Nizar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adhif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 22552011098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9AC0AB-8434-DB98-66AA-CDD54E0D8CDD}"/>
              </a:ext>
            </a:extLst>
          </p:cNvPr>
          <p:cNvSpPr txBox="1"/>
          <p:nvPr/>
        </p:nvSpPr>
        <p:spPr>
          <a:xfrm>
            <a:off x="7276738" y="4633059"/>
            <a:ext cx="2553791" cy="57810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ID" sz="1800" dirty="0" err="1"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Rizky</a:t>
            </a:r>
            <a:r>
              <a:rPr lang="en-ID" sz="1800" dirty="0"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 M. Akmal 22552011211</a:t>
            </a:r>
            <a:endParaRPr lang="en-US" sz="1800" dirty="0">
              <a:effectLst/>
              <a:latin typeface="Segoe UI Semibold" panose="020B0702040204020203" pitchFamily="34" charset="0"/>
              <a:ea typeface="Calibri" panose="020F0502020204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AE520C-E295-B928-852A-AF1D5A901FA0}"/>
              </a:ext>
            </a:extLst>
          </p:cNvPr>
          <p:cNvSpPr txBox="1"/>
          <p:nvPr/>
        </p:nvSpPr>
        <p:spPr>
          <a:xfrm>
            <a:off x="9536972" y="4616545"/>
            <a:ext cx="2553791" cy="57810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D" sz="1800" dirty="0"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William P. Putra 22552011121</a:t>
            </a:r>
            <a:endParaRPr lang="en-US" sz="1800" dirty="0">
              <a:effectLst/>
              <a:latin typeface="Segoe UI Semibold" panose="020B0702040204020203" pitchFamily="34" charset="0"/>
              <a:ea typeface="Calibri" panose="020F0502020204030204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4740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7" grpId="0" animBg="1"/>
      <p:bldP spid="8" grpId="0" animBg="1"/>
      <p:bldP spid="9" grpId="0"/>
      <p:bldP spid="10" grpId="0"/>
      <p:bldP spid="11" grpId="0"/>
      <p:bldP spid="12" grpId="0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336791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1">
                    <a:lumMod val="50000"/>
                  </a:schemeClr>
                </a:solidFill>
              </a:rPr>
              <a:t>STANDARD PLA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4129657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0B0F0"/>
                </a:solidFill>
              </a:rPr>
              <a:t>VIRTUAL GATHER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166199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gratis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untuk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30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ertama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terbata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kmati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dan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layan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Mastermind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Memiliki kesempatan konseling dengan 1 Psikiater setiap harinya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5413114" y="1086678"/>
            <a:ext cx="757254" cy="732597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0A5F74">
                <a:tint val="45000"/>
                <a:satMod val="400000"/>
              </a:srgbClr>
            </a:duotone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/>
        </p:blipFill>
        <p:spPr>
          <a:xfrm>
            <a:off x="5399270" y="1015144"/>
            <a:ext cx="660745" cy="66074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D9DBAF-D1C9-84F1-2FD0-5736F3658A2D}"/>
              </a:ext>
            </a:extLst>
          </p:cNvPr>
          <p:cNvSpPr txBox="1"/>
          <p:nvPr/>
        </p:nvSpPr>
        <p:spPr>
          <a:xfrm>
            <a:off x="6581608" y="1916569"/>
            <a:ext cx="4841135" cy="215443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lai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Live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unseling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sikolog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 Kami jug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adir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rogram Virtual Gathering, 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tu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pace Labs par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gun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pat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diskusi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hk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mbuat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vent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husus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perti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eminar yang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mbahas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puta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ehat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ental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rsama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kar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dan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ktivis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ehatan</a:t>
            </a:r>
            <a:r>
              <a:rPr lang="en-ID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ental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140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3788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90E904-BB2F-8947-1F95-09FA4C78303D}"/>
              </a:ext>
            </a:extLst>
          </p:cNvPr>
          <p:cNvSpPr txBox="1"/>
          <p:nvPr/>
        </p:nvSpPr>
        <p:spPr>
          <a:xfrm>
            <a:off x="2006867" y="3013501"/>
            <a:ext cx="8178266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5400" kern="0" dirty="0">
                <a:solidFill>
                  <a:srgbClr val="FF0000"/>
                </a:solidFill>
                <a:latin typeface="+mj-lt"/>
                <a:cs typeface="Segoe UI Semibold" panose="020B0702040204020203" pitchFamily="34" charset="0"/>
              </a:rPr>
              <a:t>SISTEMATIKA APLIKASI</a:t>
            </a:r>
          </a:p>
        </p:txBody>
      </p:sp>
    </p:spTree>
    <p:extLst>
      <p:ext uri="{BB962C8B-B14F-4D97-AF65-F5344CB8AC3E}">
        <p14:creationId xmlns:p14="http://schemas.microsoft.com/office/powerpoint/2010/main" val="3731401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6BE525C-81A7-4095-9BAD-B5A820D16412}"/>
              </a:ext>
            </a:extLst>
          </p:cNvPr>
          <p:cNvSpPr txBox="1"/>
          <p:nvPr/>
        </p:nvSpPr>
        <p:spPr>
          <a:xfrm>
            <a:off x="2997212" y="488788"/>
            <a:ext cx="5875506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4000" kern="0" dirty="0"/>
              <a:t>TIPE USER</a:t>
            </a:r>
            <a:endParaRPr lang="en-ID" sz="4000" kern="0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A314311-715D-4167-AB71-B8D4CB6FCE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3517629"/>
              </p:ext>
            </p:extLst>
          </p:nvPr>
        </p:nvGraphicFramePr>
        <p:xfrm>
          <a:off x="2227209" y="95054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34491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6BE525C-81A7-4095-9BAD-B5A820D16412}"/>
              </a:ext>
            </a:extLst>
          </p:cNvPr>
          <p:cNvSpPr txBox="1"/>
          <p:nvPr/>
        </p:nvSpPr>
        <p:spPr>
          <a:xfrm>
            <a:off x="2997212" y="488788"/>
            <a:ext cx="5875506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4000" kern="0" dirty="0"/>
              <a:t>HAK AKSES PENGGUNA</a:t>
            </a:r>
            <a:endParaRPr lang="en-ID" sz="4000" kern="0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9CCD79D-A3C8-44F1-A16E-3FB327711641}"/>
              </a:ext>
            </a:extLst>
          </p:cNvPr>
          <p:cNvGraphicFramePr/>
          <p:nvPr/>
        </p:nvGraphicFramePr>
        <p:xfrm>
          <a:off x="367586" y="1191801"/>
          <a:ext cx="11375775" cy="5398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46532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7D7BCB8-8D74-7910-6283-5B0360D9D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141" y="702363"/>
            <a:ext cx="2964115" cy="48641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0CAF7B-C120-74A4-25F8-D5D436BC20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269" y="702363"/>
            <a:ext cx="2964115" cy="48641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81379CE-3D07-171B-6E8C-2B469CF7E8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3397" y="702363"/>
            <a:ext cx="2964115" cy="486418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099A119-0066-8BF9-C0A7-8C06AB5714E4}"/>
              </a:ext>
            </a:extLst>
          </p:cNvPr>
          <p:cNvSpPr txBox="1"/>
          <p:nvPr/>
        </p:nvSpPr>
        <p:spPr>
          <a:xfrm>
            <a:off x="1560989" y="5758071"/>
            <a:ext cx="2544418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Halaman Awal</a:t>
            </a:r>
          </a:p>
          <a:p>
            <a:pPr algn="ctr"/>
            <a:r>
              <a:rPr lang="en-US" kern="0" dirty="0"/>
              <a:t>(Login Form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D2245F-3B0A-5DA6-2E82-86478EA8D2B3}"/>
              </a:ext>
            </a:extLst>
          </p:cNvPr>
          <p:cNvSpPr txBox="1"/>
          <p:nvPr/>
        </p:nvSpPr>
        <p:spPr>
          <a:xfrm>
            <a:off x="4770782" y="5758071"/>
            <a:ext cx="254441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Chat La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E6CAEE-9971-F3D5-B6A9-D3E1ADE7D5EB}"/>
              </a:ext>
            </a:extLst>
          </p:cNvPr>
          <p:cNvSpPr txBox="1"/>
          <p:nvPr/>
        </p:nvSpPr>
        <p:spPr>
          <a:xfrm>
            <a:off x="7993245" y="5758071"/>
            <a:ext cx="254441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Space Labs</a:t>
            </a:r>
          </a:p>
        </p:txBody>
      </p:sp>
    </p:spTree>
    <p:extLst>
      <p:ext uri="{BB962C8B-B14F-4D97-AF65-F5344CB8AC3E}">
        <p14:creationId xmlns:p14="http://schemas.microsoft.com/office/powerpoint/2010/main" val="2768660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099A119-0066-8BF9-C0A7-8C06AB5714E4}"/>
              </a:ext>
            </a:extLst>
          </p:cNvPr>
          <p:cNvSpPr txBox="1"/>
          <p:nvPr/>
        </p:nvSpPr>
        <p:spPr>
          <a:xfrm>
            <a:off x="1560989" y="5758071"/>
            <a:ext cx="254441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Mind Ma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D2245F-3B0A-5DA6-2E82-86478EA8D2B3}"/>
              </a:ext>
            </a:extLst>
          </p:cNvPr>
          <p:cNvSpPr txBox="1"/>
          <p:nvPr/>
        </p:nvSpPr>
        <p:spPr>
          <a:xfrm>
            <a:off x="4770782" y="5758071"/>
            <a:ext cx="254441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Book La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E6CAEE-9971-F3D5-B6A9-D3E1ADE7D5EB}"/>
              </a:ext>
            </a:extLst>
          </p:cNvPr>
          <p:cNvSpPr txBox="1"/>
          <p:nvPr/>
        </p:nvSpPr>
        <p:spPr>
          <a:xfrm>
            <a:off x="7993245" y="5758071"/>
            <a:ext cx="254441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/>
              <a:t>Counse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DC27E-7F80-34E9-C864-F98744DE27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141" y="702363"/>
            <a:ext cx="2964115" cy="486418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45645E5-064F-BED8-255D-8B240A63F0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0933" y="702363"/>
            <a:ext cx="2964115" cy="486418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3FEB7F-DE4B-30DE-38A9-0B8E14DAE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3396" y="702363"/>
            <a:ext cx="2964115" cy="486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395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90E904-BB2F-8947-1F95-09FA4C78303D}"/>
              </a:ext>
            </a:extLst>
          </p:cNvPr>
          <p:cNvSpPr txBox="1"/>
          <p:nvPr/>
        </p:nvSpPr>
        <p:spPr>
          <a:xfrm>
            <a:off x="3706528" y="3013501"/>
            <a:ext cx="4778944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5400" kern="0" dirty="0">
                <a:solidFill>
                  <a:srgbClr val="FF0000"/>
                </a:solidFill>
                <a:latin typeface="+mj-lt"/>
                <a:cs typeface="Segoe UI Semibold" panose="020B0702040204020203" pitchFamily="34" charset="0"/>
              </a:rPr>
              <a:t>SUBCRIPTION</a:t>
            </a:r>
          </a:p>
        </p:txBody>
      </p:sp>
    </p:spTree>
    <p:extLst>
      <p:ext uri="{BB962C8B-B14F-4D97-AF65-F5344CB8AC3E}">
        <p14:creationId xmlns:p14="http://schemas.microsoft.com/office/powerpoint/2010/main" val="4021734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336791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32BA7C"/>
                </a:solidFill>
              </a:rPr>
              <a:t>STANDARD PLA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32BA7C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31111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1">
                    <a:lumMod val="50000"/>
                  </a:schemeClr>
                </a:solidFill>
              </a:rPr>
              <a:t>PREMIUM PLA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765303" y="1916569"/>
            <a:ext cx="4330698" cy="166199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tx2"/>
                </a:solidFill>
              </a:rPr>
              <a:t>Mendapat</a:t>
            </a:r>
            <a:r>
              <a:rPr lang="en-US" altLang="de-DE" dirty="0">
                <a:solidFill>
                  <a:schemeClr val="tx2"/>
                </a:solidFill>
              </a:rPr>
              <a:t> </a:t>
            </a:r>
            <a:r>
              <a:rPr lang="en-US" altLang="de-DE" dirty="0" err="1">
                <a:solidFill>
                  <a:schemeClr val="tx2"/>
                </a:solidFill>
              </a:rPr>
              <a:t>konseling</a:t>
            </a:r>
            <a:r>
              <a:rPr lang="en-US" altLang="de-DE" dirty="0">
                <a:solidFill>
                  <a:schemeClr val="tx2"/>
                </a:solidFill>
              </a:rPr>
              <a:t> gratis </a:t>
            </a:r>
            <a:r>
              <a:rPr lang="en-US" altLang="de-DE" dirty="0" err="1">
                <a:solidFill>
                  <a:schemeClr val="tx2"/>
                </a:solidFill>
              </a:rPr>
              <a:t>untuk</a:t>
            </a:r>
            <a:r>
              <a:rPr lang="en-US" altLang="de-DE" dirty="0">
                <a:solidFill>
                  <a:schemeClr val="tx2"/>
                </a:solidFill>
              </a:rPr>
              <a:t> 30 </a:t>
            </a:r>
            <a:r>
              <a:rPr lang="en-US" altLang="de-DE" dirty="0" err="1">
                <a:solidFill>
                  <a:schemeClr val="tx2"/>
                </a:solidFill>
              </a:rPr>
              <a:t>menit</a:t>
            </a:r>
            <a:r>
              <a:rPr lang="en-US" altLang="de-DE" dirty="0">
                <a:solidFill>
                  <a:schemeClr val="tx2"/>
                </a:solidFill>
              </a:rPr>
              <a:t> </a:t>
            </a:r>
            <a:r>
              <a:rPr lang="en-US" altLang="de-DE" dirty="0" err="1">
                <a:solidFill>
                  <a:schemeClr val="tx2"/>
                </a:solidFill>
              </a:rPr>
              <a:t>pertama</a:t>
            </a:r>
            <a:r>
              <a:rPr lang="en-US" altLang="de-DE" dirty="0">
                <a:solidFill>
                  <a:schemeClr val="tx2"/>
                </a:solidFill>
              </a:rPr>
              <a:t> </a:t>
            </a:r>
            <a:r>
              <a:rPr lang="en-US" altLang="de-DE" dirty="0" err="1">
                <a:solidFill>
                  <a:schemeClr val="tx2"/>
                </a:solidFill>
              </a:rPr>
              <a:t>dengan</a:t>
            </a:r>
            <a:r>
              <a:rPr lang="en-US" altLang="de-DE" dirty="0">
                <a:solidFill>
                  <a:schemeClr val="tx2"/>
                </a:solidFill>
              </a:rPr>
              <a:t> </a:t>
            </a:r>
            <a:r>
              <a:rPr lang="en-US" altLang="de-DE" dirty="0" err="1">
                <a:solidFill>
                  <a:schemeClr val="tx2"/>
                </a:solidFill>
              </a:rPr>
              <a:t>Psikiater</a:t>
            </a:r>
            <a:endParaRPr lang="en-US" altLang="de-DE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rbatas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ikmati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n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yanan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stermind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miliki kesempatan konseling dengan 1 Psikiater setiap hariny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360098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Mendapatka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rioritas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para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aka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dan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Berkesempat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urasi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hingga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120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per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sesi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Live Counseling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ggunak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video conference di Chat Labs</a:t>
            </a:r>
            <a:endParaRPr lang="de-DE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konseling tak terbatas dengan Psikiater yang berbed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bebas mengikuti seminar online dengan para Psikiater dan Mahasisw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Akses penuh terhadap fitur dan layanan Mastermind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rgbClr val="32BA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rgbClr val="32BA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/>
        </p:blipFill>
        <p:spPr>
          <a:xfrm>
            <a:off x="650302" y="994640"/>
            <a:ext cx="747510" cy="747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336791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1">
                    <a:lumMod val="50000"/>
                  </a:schemeClr>
                </a:solidFill>
              </a:rPr>
              <a:t>STANDARD PLA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31111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PREMIUM PLA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166199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konseling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gratis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untuk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30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t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ertama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deng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Psikiater</a:t>
            </a:r>
            <a:endParaRPr lang="en-US" altLang="de-DE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terbatas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menikmati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dan </a:t>
            </a:r>
            <a:r>
              <a:rPr lang="en-US" altLang="de-DE" dirty="0" err="1">
                <a:solidFill>
                  <a:schemeClr val="bg1">
                    <a:lumMod val="50000"/>
                  </a:schemeClr>
                </a:solidFill>
              </a:rPr>
              <a:t>layanan</a:t>
            </a:r>
            <a:r>
              <a:rPr lang="en-US" altLang="de-DE" dirty="0">
                <a:solidFill>
                  <a:schemeClr val="bg1">
                    <a:lumMod val="50000"/>
                  </a:schemeClr>
                </a:solidFill>
              </a:rPr>
              <a:t> Mastermind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bg1">
                    <a:lumMod val="50000"/>
                  </a:schemeClr>
                </a:solidFill>
              </a:rPr>
              <a:t>Memiliki kesempatan konseling dengan 1 Psikiater setiap hariny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94860" y="1916569"/>
            <a:ext cx="4992329" cy="360098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dapatkan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ioritas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onseling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ngan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ra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akar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n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sikiate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rkesempatan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urasi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onseling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ingga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20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it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er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si</a:t>
            </a:r>
            <a:endParaRPr lang="en-US" alt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dapat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kses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ive Counseling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ngan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sikiater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ggunakan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tur</a:t>
            </a:r>
            <a:r>
              <a:rPr lang="en-US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deo conference di Chat Labs</a:t>
            </a:r>
            <a:endParaRPr lang="de-DE" alt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kses konseling tak terbatas dengan Psikiater yang berbed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kses bebas mengikuti seminar online dengan para Psikiater dan Mahasisw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kses penuh terhadap fitur dan layanan Mastermind</a:t>
            </a:r>
            <a:endParaRPr lang="en-US" alt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056757"/>
              </a:gs>
              <a:gs pos="100000">
                <a:srgbClr val="079B8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/>
          <a:stretch/>
        </p:blipFill>
        <p:spPr>
          <a:xfrm>
            <a:off x="5346262" y="994640"/>
            <a:ext cx="747510" cy="747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5195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FAA4986-EA49-49C1-CB88-D466DF2040A9}"/>
              </a:ext>
            </a:extLst>
          </p:cNvPr>
          <p:cNvSpPr/>
          <p:nvPr/>
        </p:nvSpPr>
        <p:spPr>
          <a:xfrm>
            <a:off x="3608054" y="2276040"/>
            <a:ext cx="4896680" cy="2329072"/>
          </a:xfrm>
          <a:prstGeom prst="roundRect">
            <a:avLst/>
          </a:prstGeom>
          <a:blipFill dpi="0" rotWithShape="1">
            <a:blip r:embed="rId2"/>
            <a:srcRect/>
            <a:stretch>
              <a:fillRect t="-76" b="-76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84AADED-B828-37C4-D2CD-619530894236}"/>
              </a:ext>
            </a:extLst>
          </p:cNvPr>
          <p:cNvSpPr/>
          <p:nvPr/>
        </p:nvSpPr>
        <p:spPr>
          <a:xfrm>
            <a:off x="750556" y="464429"/>
            <a:ext cx="2252870" cy="1537252"/>
          </a:xfrm>
          <a:prstGeom prst="roundRect">
            <a:avLst/>
          </a:prstGeom>
          <a:blipFill dpi="0" rotWithShape="1">
            <a:blip r:embed="rId3"/>
            <a:srcRect/>
            <a:stretch>
              <a:fillRect l="-1108" r="-1108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5072385-3AC1-7DCC-C074-618341BA90BC}"/>
              </a:ext>
            </a:extLst>
          </p:cNvPr>
          <p:cNvSpPr/>
          <p:nvPr/>
        </p:nvSpPr>
        <p:spPr>
          <a:xfrm>
            <a:off x="3536825" y="459872"/>
            <a:ext cx="2252870" cy="1537252"/>
          </a:xfrm>
          <a:prstGeom prst="roundRect">
            <a:avLst/>
          </a:prstGeom>
          <a:blipFill dpi="0" rotWithShape="1">
            <a:blip r:embed="rId4"/>
            <a:srcRect/>
            <a:stretch>
              <a:fillRect l="-364" r="-36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976349B-7BFC-0FBB-AF7E-2D972022C9B8}"/>
              </a:ext>
            </a:extLst>
          </p:cNvPr>
          <p:cNvSpPr/>
          <p:nvPr/>
        </p:nvSpPr>
        <p:spPr>
          <a:xfrm>
            <a:off x="9109363" y="464429"/>
            <a:ext cx="2252870" cy="1537252"/>
          </a:xfrm>
          <a:prstGeom prst="roundRect">
            <a:avLst/>
          </a:prstGeom>
          <a:blipFill dpi="0" rotWithShape="1">
            <a:blip r:embed="rId5"/>
            <a:srcRect/>
            <a:stretch>
              <a:fillRect l="-94" r="-9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2CCAB86-55DE-CB22-6C28-1B5BD978FFF3}"/>
              </a:ext>
            </a:extLst>
          </p:cNvPr>
          <p:cNvSpPr/>
          <p:nvPr/>
        </p:nvSpPr>
        <p:spPr>
          <a:xfrm>
            <a:off x="9109363" y="2684168"/>
            <a:ext cx="2252870" cy="1537252"/>
          </a:xfrm>
          <a:prstGeom prst="roundRect">
            <a:avLst/>
          </a:prstGeom>
          <a:blipFill dpi="0" rotWithShape="1">
            <a:blip r:embed="rId6"/>
            <a:srcRect/>
            <a:stretch>
              <a:fillRect l="-94" r="-9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4FBCBAA-333A-7FD7-EEE0-85E4F8F96F5E}"/>
              </a:ext>
            </a:extLst>
          </p:cNvPr>
          <p:cNvSpPr/>
          <p:nvPr/>
        </p:nvSpPr>
        <p:spPr>
          <a:xfrm>
            <a:off x="6323094" y="459872"/>
            <a:ext cx="2252870" cy="1537252"/>
          </a:xfrm>
          <a:prstGeom prst="roundRect">
            <a:avLst/>
          </a:prstGeom>
          <a:blipFill dpi="0" rotWithShape="1">
            <a:blip r:embed="rId7"/>
            <a:srcRect/>
            <a:stretch>
              <a:fillRect l="-94" r="-9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C6E465F-36C3-3817-D28E-C310ED15FDE1}"/>
              </a:ext>
            </a:extLst>
          </p:cNvPr>
          <p:cNvSpPr/>
          <p:nvPr/>
        </p:nvSpPr>
        <p:spPr>
          <a:xfrm>
            <a:off x="9109363" y="4884029"/>
            <a:ext cx="2252870" cy="1537252"/>
          </a:xfrm>
          <a:prstGeom prst="roundRect">
            <a:avLst/>
          </a:prstGeom>
          <a:blipFill dpi="0" rotWithShape="1">
            <a:blip r:embed="rId8"/>
            <a:srcRect/>
            <a:stretch>
              <a:fillRect l="-94" r="-9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B927CCD-10DC-1335-DBBD-82F3B52A4629}"/>
              </a:ext>
            </a:extLst>
          </p:cNvPr>
          <p:cNvSpPr/>
          <p:nvPr/>
        </p:nvSpPr>
        <p:spPr>
          <a:xfrm>
            <a:off x="6323094" y="4884029"/>
            <a:ext cx="2252870" cy="1537252"/>
          </a:xfrm>
          <a:prstGeom prst="roundRect">
            <a:avLst/>
          </a:prstGeom>
          <a:blipFill dpi="0" rotWithShape="1">
            <a:blip r:embed="rId9"/>
            <a:srcRect/>
            <a:stretch>
              <a:fillRect l="-2801" r="-2801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E687248-B9A0-BCCD-80A3-F33E442A51A4}"/>
              </a:ext>
            </a:extLst>
          </p:cNvPr>
          <p:cNvSpPr/>
          <p:nvPr/>
        </p:nvSpPr>
        <p:spPr>
          <a:xfrm>
            <a:off x="3536825" y="4903907"/>
            <a:ext cx="2252870" cy="1537252"/>
          </a:xfrm>
          <a:prstGeom prst="roundRect">
            <a:avLst/>
          </a:prstGeom>
          <a:blipFill dpi="0" rotWithShape="1">
            <a:blip r:embed="rId10"/>
            <a:srcRect/>
            <a:stretch>
              <a:fillRect l="-94" r="-9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43FFA64-8A75-7B20-BC7B-C47415257C9C}"/>
              </a:ext>
            </a:extLst>
          </p:cNvPr>
          <p:cNvSpPr/>
          <p:nvPr/>
        </p:nvSpPr>
        <p:spPr>
          <a:xfrm>
            <a:off x="750556" y="4903907"/>
            <a:ext cx="2252870" cy="1537252"/>
          </a:xfrm>
          <a:prstGeom prst="roundRect">
            <a:avLst/>
          </a:prstGeom>
          <a:blipFill dpi="0" rotWithShape="1">
            <a:blip r:embed="rId11"/>
            <a:srcRect/>
            <a:stretch>
              <a:fillRect l="-1171" r="-1171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666FA04-3D8C-498C-6B4E-1C70637887D7}"/>
              </a:ext>
            </a:extLst>
          </p:cNvPr>
          <p:cNvSpPr/>
          <p:nvPr/>
        </p:nvSpPr>
        <p:spPr>
          <a:xfrm>
            <a:off x="750556" y="2684168"/>
            <a:ext cx="2252870" cy="1537252"/>
          </a:xfrm>
          <a:prstGeom prst="roundRect">
            <a:avLst/>
          </a:prstGeom>
          <a:blipFill dpi="0" rotWithShape="1">
            <a:blip r:embed="rId12"/>
            <a:srcRect/>
            <a:stretch>
              <a:fillRect l="-2259" r="-2259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559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 sz="3600" dirty="0"/>
              <a:t>Section Boar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180BC78-EA0F-4D0B-85C2-CDA92F978662}"/>
              </a:ext>
            </a:extLst>
          </p:cNvPr>
          <p:cNvSpPr txBox="1"/>
          <p:nvPr/>
        </p:nvSpPr>
        <p:spPr>
          <a:xfrm>
            <a:off x="868680" y="817372"/>
            <a:ext cx="1561325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kern="0" dirty="0">
                <a:solidFill>
                  <a:schemeClr val="accent1"/>
                </a:solidFill>
              </a:rPr>
              <a:t>KELOMPOK 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FB16494-82FE-407D-A4C8-D749A8C79DBA}"/>
              </a:ext>
            </a:extLst>
          </p:cNvPr>
          <p:cNvSpPr txBox="1"/>
          <p:nvPr/>
        </p:nvSpPr>
        <p:spPr>
          <a:xfrm>
            <a:off x="3531013" y="1883943"/>
            <a:ext cx="2261806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800" dirty="0"/>
              <a:t>APLIKASI DAN FITUR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9" name="Section Zoom 28">
                <a:extLst>
                  <a:ext uri="{FF2B5EF4-FFF2-40B4-BE49-F238E27FC236}">
                    <a16:creationId xmlns:a16="http://schemas.microsoft.com/office/drawing/2014/main" id="{E17F8B02-BC41-4444-860A-A178D4A275D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16842099"/>
                  </p:ext>
                </p:extLst>
              </p:nvPr>
            </p:nvGraphicFramePr>
            <p:xfrm>
              <a:off x="3510693" y="2305954"/>
              <a:ext cx="2260741" cy="1271667"/>
            </p:xfrm>
            <a:graphic>
              <a:graphicData uri="http://schemas.microsoft.com/office/powerpoint/2016/sectionzoom">
                <psez:sectionZm>
                  <psez:sectionZmObj sectionId="{166B4E13-456F-4DE7-8043-47B198AC9D32}">
                    <psez:zmPr id="{4C88581C-38FB-4EBF-81AD-663B015223D4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60741" cy="127166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50800" sx="104000" sy="104000" algn="ctr" rotWithShape="0">
                            <a:schemeClr val="tx2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9" name="Section Zoom 28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E17F8B02-BC41-4444-860A-A178D4A275D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510693" y="2305954"/>
                <a:ext cx="2260741" cy="1271667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50800" sx="104000" sy="104000" algn="ctr" rotWithShape="0">
                  <a:schemeClr val="tx2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9" name="Section Zoom 38">
                <a:extLst>
                  <a:ext uri="{FF2B5EF4-FFF2-40B4-BE49-F238E27FC236}">
                    <a16:creationId xmlns:a16="http://schemas.microsoft.com/office/drawing/2014/main" id="{3D8CE294-2352-4923-9A5E-AB2F0C2FD49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30633889"/>
                  </p:ext>
                </p:extLst>
              </p:nvPr>
            </p:nvGraphicFramePr>
            <p:xfrm>
              <a:off x="3510693" y="3753031"/>
              <a:ext cx="2260741" cy="1271667"/>
            </p:xfrm>
            <a:graphic>
              <a:graphicData uri="http://schemas.microsoft.com/office/powerpoint/2016/sectionzoom">
                <psez:sectionZm>
                  <psez:sectionZmObj sectionId="{D85E7BA3-836F-4CB6-B050-46665D3F05EF}">
                    <psez:zmPr id="{870048D7-6250-4618-AAB1-E17FD258C9A4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60741" cy="127166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50800" sx="104000" sy="104000" algn="ctr" rotWithShape="0">
                            <a:schemeClr val="tx2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9" name="Section Zoom 38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3D8CE294-2352-4923-9A5E-AB2F0C2FD49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510693" y="3753031"/>
                <a:ext cx="2260741" cy="1271667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50800" sx="104000" sy="104000" algn="ctr" rotWithShape="0">
                  <a:schemeClr val="tx2">
                    <a:alpha val="10000"/>
                  </a:schemeClr>
                </a:outerShdw>
              </a:effectLst>
            </p:spPr>
          </p:pic>
        </mc:Fallback>
      </mc:AlternateContent>
      <p:sp>
        <p:nvSpPr>
          <p:cNvPr id="40" name="TextBox 39">
            <a:extLst>
              <a:ext uri="{FF2B5EF4-FFF2-40B4-BE49-F238E27FC236}">
                <a16:creationId xmlns:a16="http://schemas.microsoft.com/office/drawing/2014/main" id="{37EF4E7E-D6F9-4EA4-9802-DFA728B7E436}"/>
              </a:ext>
            </a:extLst>
          </p:cNvPr>
          <p:cNvSpPr txBox="1"/>
          <p:nvPr/>
        </p:nvSpPr>
        <p:spPr>
          <a:xfrm>
            <a:off x="6065519" y="1893542"/>
            <a:ext cx="2617010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800" dirty="0"/>
              <a:t>SISTEMATIKA APLIKASI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2" name="Section Zoom 41">
                <a:extLst>
                  <a:ext uri="{FF2B5EF4-FFF2-40B4-BE49-F238E27FC236}">
                    <a16:creationId xmlns:a16="http://schemas.microsoft.com/office/drawing/2014/main" id="{1299034F-F49E-4686-8ADD-CCE42280CCF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83052102"/>
                  </p:ext>
                </p:extLst>
              </p:nvPr>
            </p:nvGraphicFramePr>
            <p:xfrm>
              <a:off x="6096000" y="2305954"/>
              <a:ext cx="2332530" cy="1312048"/>
            </p:xfrm>
            <a:graphic>
              <a:graphicData uri="http://schemas.microsoft.com/office/powerpoint/2016/sectionzoom">
                <psez:sectionZm>
                  <psez:sectionZmObj sectionId="{04707198-36AF-447B-9D89-721749FC5B13}">
                    <psez:zmPr id="{32BE868A-7516-4D84-9155-93C2D7F4CFFE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332530" cy="131204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50800" sx="104000" sy="104000" algn="ctr" rotWithShape="0">
                            <a:schemeClr val="tx2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2" name="Section Zoom 41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1299034F-F49E-4686-8ADD-CCE42280CCF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096000" y="2305954"/>
                <a:ext cx="2332530" cy="131204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50800" sx="104000" sy="104000" algn="ctr" rotWithShape="0">
                  <a:schemeClr val="tx2">
                    <a:alpha val="10000"/>
                  </a:schemeClr>
                </a:outerShdw>
              </a:effectLst>
            </p:spPr>
          </p:pic>
        </mc:Fallback>
      </mc:AlternateContent>
      <p:sp>
        <p:nvSpPr>
          <p:cNvPr id="43" name="TextBox 42">
            <a:extLst>
              <a:ext uri="{FF2B5EF4-FFF2-40B4-BE49-F238E27FC236}">
                <a16:creationId xmlns:a16="http://schemas.microsoft.com/office/drawing/2014/main" id="{CA667245-118D-4A26-934A-91E425F3F7C0}"/>
              </a:ext>
            </a:extLst>
          </p:cNvPr>
          <p:cNvSpPr txBox="1"/>
          <p:nvPr/>
        </p:nvSpPr>
        <p:spPr>
          <a:xfrm>
            <a:off x="8830725" y="1893542"/>
            <a:ext cx="2617010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800" dirty="0"/>
              <a:t>KESIMPULAN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5" name="Section Zoom 44">
                <a:extLst>
                  <a:ext uri="{FF2B5EF4-FFF2-40B4-BE49-F238E27FC236}">
                    <a16:creationId xmlns:a16="http://schemas.microsoft.com/office/drawing/2014/main" id="{054A013D-0931-48D5-93B9-4E1EC5BCF49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6009274"/>
                  </p:ext>
                </p:extLst>
              </p:nvPr>
            </p:nvGraphicFramePr>
            <p:xfrm>
              <a:off x="8830725" y="2305954"/>
              <a:ext cx="2332531" cy="1312049"/>
            </p:xfrm>
            <a:graphic>
              <a:graphicData uri="http://schemas.microsoft.com/office/powerpoint/2016/sectionzoom">
                <psez:sectionZm>
                  <psez:sectionZmObj sectionId="{2948DB12-55B2-4732-BF0B-74F3B9DE76B1}">
                    <psez:zmPr id="{01A559C8-75F7-49AD-810F-2E156CC9AE8C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332531" cy="131204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63500" dist="63500" sx="104000" sy="104000" algn="ctr" rotWithShape="0">
                            <a:schemeClr val="tx2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5" name="Section Zoom 44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054A013D-0931-48D5-93B9-4E1EC5BCF49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830725" y="2305954"/>
                <a:ext cx="2332531" cy="1312049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63500" dist="63500" sx="104000" sy="104000" algn="ctr" rotWithShape="0">
                  <a:schemeClr val="tx2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6" name="Section Zoom 45">
                <a:extLst>
                  <a:ext uri="{FF2B5EF4-FFF2-40B4-BE49-F238E27FC236}">
                    <a16:creationId xmlns:a16="http://schemas.microsoft.com/office/drawing/2014/main" id="{8BFB660E-373C-481C-BC81-EC0D4ED417B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2078308"/>
                  </p:ext>
                </p:extLst>
              </p:nvPr>
            </p:nvGraphicFramePr>
            <p:xfrm>
              <a:off x="977253" y="2305954"/>
              <a:ext cx="2260740" cy="1271666"/>
            </p:xfrm>
            <a:graphic>
              <a:graphicData uri="http://schemas.microsoft.com/office/powerpoint/2016/sectionzoom">
                <psez:sectionZm>
                  <psez:sectionZmObj sectionId="{2A7242DC-929E-4579-8F10-2B02EF80F144}">
                    <psez:zmPr id="{AC80214F-26B3-447A-8433-F94FEEA7DCEA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60740" cy="127166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50800" sx="104000" sy="104000" algn="ctr" rotWithShape="0">
                            <a:schemeClr val="tx2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6" name="Section Zoom 45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8BFB660E-373C-481C-BC81-EC0D4ED417B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977253" y="2305954"/>
                <a:ext cx="2260740" cy="127166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50800" sx="104000" sy="104000" algn="ctr" rotWithShape="0">
                  <a:schemeClr val="tx2">
                    <a:alpha val="10000"/>
                  </a:schemeClr>
                </a:outerShdw>
              </a:effectLst>
            </p:spPr>
          </p:pic>
        </mc:Fallback>
      </mc:AlternateContent>
      <p:sp>
        <p:nvSpPr>
          <p:cNvPr id="47" name="TextBox 46">
            <a:extLst>
              <a:ext uri="{FF2B5EF4-FFF2-40B4-BE49-F238E27FC236}">
                <a16:creationId xmlns:a16="http://schemas.microsoft.com/office/drawing/2014/main" id="{AE1A83B1-83CE-4376-95DD-14384A8BEE65}"/>
              </a:ext>
            </a:extLst>
          </p:cNvPr>
          <p:cNvSpPr txBox="1"/>
          <p:nvPr/>
        </p:nvSpPr>
        <p:spPr>
          <a:xfrm>
            <a:off x="977253" y="1893543"/>
            <a:ext cx="1936686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800" dirty="0"/>
              <a:t>LATAR BELAKA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517BA1-2B88-426A-A1A6-612598A8378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9325" r="19325"/>
          <a:stretch/>
        </p:blipFill>
        <p:spPr>
          <a:xfrm>
            <a:off x="6223000" y="0"/>
            <a:ext cx="631105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563F9D-A8A4-4358-8C58-96C56A3E30F9}"/>
              </a:ext>
            </a:extLst>
          </p:cNvPr>
          <p:cNvSpPr txBox="1"/>
          <p:nvPr/>
        </p:nvSpPr>
        <p:spPr>
          <a:xfrm>
            <a:off x="292100" y="419100"/>
            <a:ext cx="5930900" cy="529375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4400" kern="0" dirty="0">
                <a:solidFill>
                  <a:srgbClr val="0070C0"/>
                </a:solidFill>
                <a:latin typeface="+mj-lt"/>
                <a:ea typeface="Segoe UI Black" panose="020B0A02040204020203" pitchFamily="34" charset="0"/>
              </a:rPr>
              <a:t>LATAR BELAKANG</a:t>
            </a:r>
          </a:p>
          <a:p>
            <a:endParaRPr lang="en-US" sz="4400" kern="0" dirty="0">
              <a:solidFill>
                <a:srgbClr val="0070C0"/>
              </a:solidFill>
            </a:endParaRPr>
          </a:p>
          <a:p>
            <a:r>
              <a:rPr lang="en-ID" sz="3200" dirty="0">
                <a:effectLst/>
                <a:ea typeface="Calibri" panose="020F0502020204030204" pitchFamily="34" charset="0"/>
              </a:rPr>
              <a:t>Kesehatan mental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memiliki</a:t>
            </a:r>
            <a:r>
              <a:rPr lang="en-ID" sz="3200" dirty="0">
                <a:effectLst/>
                <a:ea typeface="Calibri" panose="020F0502020204030204" pitchFamily="34" charset="0"/>
              </a:rPr>
              <a:t> arti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penting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dalam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kehidupan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seseorang</a:t>
            </a:r>
            <a:r>
              <a:rPr lang="en-ID" sz="3200" dirty="0">
                <a:effectLst/>
                <a:ea typeface="Calibri" panose="020F0502020204030204" pitchFamily="34" charset="0"/>
              </a:rPr>
              <a:t>,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dengan</a:t>
            </a:r>
            <a:r>
              <a:rPr lang="en-ID" sz="3200" dirty="0">
                <a:effectLst/>
                <a:ea typeface="Calibri" panose="020F0502020204030204" pitchFamily="34" charset="0"/>
              </a:rPr>
              <a:t> mental yang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sehat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maka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seseorang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dapat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melakukan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aktifitas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sebagai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mahluk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hidup</a:t>
            </a:r>
            <a:r>
              <a:rPr lang="en-ID" sz="3200" dirty="0">
                <a:effectLst/>
                <a:ea typeface="Calibri" panose="020F0502020204030204" pitchFamily="34" charset="0"/>
              </a:rPr>
              <a:t>.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Masalah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kesehatan</a:t>
            </a:r>
            <a:r>
              <a:rPr lang="en-ID" sz="3200" dirty="0">
                <a:effectLst/>
                <a:ea typeface="Calibri" panose="020F0502020204030204" pitchFamily="34" charset="0"/>
              </a:rPr>
              <a:t> mental yang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dialami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remaja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cukup</a:t>
            </a:r>
            <a:r>
              <a:rPr lang="en-ID" sz="3200" dirty="0">
                <a:effectLst/>
                <a:ea typeface="Calibri" panose="020F0502020204030204" pitchFamily="34" charset="0"/>
              </a:rPr>
              <a:t> </a:t>
            </a:r>
            <a:r>
              <a:rPr lang="en-ID" sz="3200" dirty="0" err="1">
                <a:effectLst/>
                <a:ea typeface="Calibri" panose="020F0502020204030204" pitchFamily="34" charset="0"/>
              </a:rPr>
              <a:t>tinggi</a:t>
            </a:r>
            <a:r>
              <a:rPr lang="en-ID" sz="3200" dirty="0">
                <a:effectLst/>
                <a:ea typeface="Calibri" panose="020F0502020204030204" pitchFamily="34" charset="0"/>
              </a:rPr>
              <a:t>. </a:t>
            </a:r>
            <a:endParaRPr lang="en-US" sz="6600" kern="0" dirty="0">
              <a:solidFill>
                <a:srgbClr val="0070C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3214080" cy="6858000"/>
          </a:xfrm>
          <a:prstGeom prst="rect">
            <a:avLst/>
          </a:prstGeom>
          <a:solidFill>
            <a:srgbClr val="86EAE9">
              <a:alpha val="19608"/>
            </a:srgbClr>
          </a:solidFill>
        </p:spPr>
      </p:sp>
      <p:sp>
        <p:nvSpPr>
          <p:cNvPr id="3" name="TextBox 3"/>
          <p:cNvSpPr txBox="1"/>
          <p:nvPr/>
        </p:nvSpPr>
        <p:spPr>
          <a:xfrm>
            <a:off x="685800" y="654050"/>
            <a:ext cx="1558339" cy="15194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69"/>
              </a:lnSpc>
            </a:pPr>
            <a:r>
              <a:rPr lang="en-US" sz="2267" spc="68" dirty="0">
                <a:solidFill>
                  <a:schemeClr val="tx2"/>
                </a:solidFill>
                <a:latin typeface="+mj-lt"/>
              </a:rPr>
              <a:t>Data </a:t>
            </a:r>
            <a:r>
              <a:rPr lang="en-US" sz="2267" spc="68" dirty="0" err="1">
                <a:solidFill>
                  <a:schemeClr val="tx2"/>
                </a:solidFill>
                <a:latin typeface="+mj-lt"/>
              </a:rPr>
              <a:t>Kematian</a:t>
            </a:r>
            <a:r>
              <a:rPr lang="en-US" sz="2267" spc="68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2267" spc="68" dirty="0" err="1">
                <a:solidFill>
                  <a:schemeClr val="tx2"/>
                </a:solidFill>
                <a:latin typeface="+mj-lt"/>
              </a:rPr>
              <a:t>Akibat</a:t>
            </a:r>
            <a:r>
              <a:rPr lang="en-US" sz="2267" spc="68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2267" spc="68" dirty="0" err="1">
                <a:solidFill>
                  <a:schemeClr val="tx2"/>
                </a:solidFill>
                <a:latin typeface="+mj-lt"/>
              </a:rPr>
              <a:t>Depresi</a:t>
            </a:r>
            <a:endParaRPr lang="en-US" sz="2267" spc="68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561929" y="4167425"/>
            <a:ext cx="2132778" cy="212782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427"/>
              </a:lnSpc>
            </a:pPr>
            <a:r>
              <a:rPr lang="en-US" sz="1733" spc="87" dirty="0" err="1">
                <a:solidFill>
                  <a:schemeClr val="tx2"/>
                </a:solidFill>
              </a:rPr>
              <a:t>Survei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kasus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bunuh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diri</a:t>
            </a:r>
            <a:r>
              <a:rPr lang="en-US" sz="1733" spc="87" dirty="0">
                <a:solidFill>
                  <a:schemeClr val="tx2"/>
                </a:solidFill>
              </a:rPr>
              <a:t> di </a:t>
            </a:r>
            <a:r>
              <a:rPr lang="en-US" sz="1733" spc="87" dirty="0" err="1">
                <a:solidFill>
                  <a:schemeClr val="tx2"/>
                </a:solidFill>
              </a:rPr>
              <a:t>usia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muda</a:t>
            </a:r>
            <a:r>
              <a:rPr lang="en-US" sz="1733" spc="87" dirty="0">
                <a:solidFill>
                  <a:schemeClr val="tx2"/>
                </a:solidFill>
              </a:rPr>
              <a:t> di Asia Tenggara </a:t>
            </a:r>
            <a:r>
              <a:rPr lang="en-US" sz="1733" spc="87" dirty="0" err="1">
                <a:solidFill>
                  <a:schemeClr val="tx2"/>
                </a:solidFill>
              </a:rPr>
              <a:t>tahun</a:t>
            </a:r>
            <a:r>
              <a:rPr lang="en-US" sz="1733" spc="87" dirty="0">
                <a:solidFill>
                  <a:schemeClr val="tx2"/>
                </a:solidFill>
              </a:rPr>
              <a:t> 2019 total </a:t>
            </a:r>
            <a:r>
              <a:rPr lang="en-US" sz="1733" spc="87" dirty="0" err="1">
                <a:solidFill>
                  <a:schemeClr val="tx2"/>
                </a:solidFill>
              </a:rPr>
              <a:t>ada</a:t>
            </a:r>
            <a:r>
              <a:rPr lang="en-US" sz="1733" spc="87" dirty="0">
                <a:solidFill>
                  <a:schemeClr val="tx2"/>
                </a:solidFill>
              </a:rPr>
              <a:t> 800.000 </a:t>
            </a:r>
            <a:r>
              <a:rPr lang="en-US" sz="1733" spc="87" dirty="0" err="1">
                <a:solidFill>
                  <a:schemeClr val="tx2"/>
                </a:solidFill>
              </a:rPr>
              <a:t>kematian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akibat</a:t>
            </a:r>
            <a:r>
              <a:rPr lang="en-US" sz="1733" spc="87" dirty="0">
                <a:solidFill>
                  <a:schemeClr val="tx2"/>
                </a:solidFill>
              </a:rPr>
              <a:t> </a:t>
            </a:r>
            <a:r>
              <a:rPr lang="en-US" sz="1733" spc="87" dirty="0" err="1">
                <a:solidFill>
                  <a:schemeClr val="tx2"/>
                </a:solidFill>
              </a:rPr>
              <a:t>depresi</a:t>
            </a:r>
            <a:endParaRPr lang="en-US" sz="1733" spc="87" dirty="0">
              <a:solidFill>
                <a:schemeClr val="tx2"/>
              </a:solidFill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4455342" y="5954335"/>
            <a:ext cx="868569" cy="2220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ts val="1938"/>
              </a:lnSpc>
              <a:defRPr sz="1161" spc="80">
                <a:solidFill>
                  <a:srgbClr val="191919"/>
                </a:solidFill>
                <a:latin typeface="Aileron Regular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Thailand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15914" y="5954335"/>
            <a:ext cx="868569" cy="2220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38"/>
              </a:lnSpc>
            </a:pPr>
            <a:r>
              <a:rPr lang="en-US" sz="1161" spc="80" dirty="0">
                <a:solidFill>
                  <a:schemeClr val="tx2"/>
                </a:solidFill>
                <a:latin typeface="Aileron Regular"/>
              </a:rPr>
              <a:t>Singapura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6576485" y="5954335"/>
            <a:ext cx="868569" cy="2220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38"/>
              </a:lnSpc>
            </a:pPr>
            <a:r>
              <a:rPr lang="en-US" sz="1161" spc="80" dirty="0">
                <a:solidFill>
                  <a:schemeClr val="tx2"/>
                </a:solidFill>
                <a:latin typeface="Aileron Regular"/>
              </a:rPr>
              <a:t>Vietnam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7637057" y="5954335"/>
            <a:ext cx="868569" cy="2220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38"/>
              </a:lnSpc>
            </a:pPr>
            <a:r>
              <a:rPr lang="en-US" sz="1161" spc="80" dirty="0">
                <a:solidFill>
                  <a:schemeClr val="tx2"/>
                </a:solidFill>
                <a:latin typeface="Aileron Regular"/>
              </a:rPr>
              <a:t>Malaysia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8697629" y="5954335"/>
            <a:ext cx="868569" cy="2220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38"/>
              </a:lnSpc>
            </a:pPr>
            <a:r>
              <a:rPr lang="en-US" sz="1161" spc="80" dirty="0">
                <a:solidFill>
                  <a:schemeClr val="tx2"/>
                </a:solidFill>
                <a:latin typeface="Aileron Regular"/>
              </a:rPr>
              <a:t>Indonesia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9758201" y="5954335"/>
            <a:ext cx="868569" cy="2220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38"/>
              </a:lnSpc>
            </a:pPr>
            <a:r>
              <a:rPr lang="en-US" sz="1161" spc="80" dirty="0">
                <a:solidFill>
                  <a:schemeClr val="tx2"/>
                </a:solidFill>
                <a:latin typeface="Aileron Regular"/>
              </a:rPr>
              <a:t>Filipina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3753956" y="5484080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>
                <a:solidFill>
                  <a:schemeClr val="tx2"/>
                </a:solidFill>
                <a:latin typeface="Aileron Regular"/>
              </a:rPr>
              <a:t>0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3753956" y="765314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13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753956" y="1542561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9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3753956" y="2329023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7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3753956" y="3106270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5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3753956" y="3911158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3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3753956" y="4697619"/>
            <a:ext cx="339139" cy="2493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2"/>
              </a:lnSpc>
            </a:pPr>
            <a:r>
              <a:rPr lang="en-US" sz="1400" spc="14" dirty="0">
                <a:solidFill>
                  <a:schemeClr val="tx2"/>
                </a:solidFill>
                <a:latin typeface="Aileron Regular"/>
              </a:rPr>
              <a:t>1</a:t>
            </a:r>
          </a:p>
        </p:txBody>
      </p:sp>
      <p:grpSp>
        <p:nvGrpSpPr>
          <p:cNvPr id="19" name="Group 19"/>
          <p:cNvGrpSpPr/>
          <p:nvPr/>
        </p:nvGrpSpPr>
        <p:grpSpPr>
          <a:xfrm>
            <a:off x="4455342" y="901700"/>
            <a:ext cx="7231999" cy="2887443"/>
            <a:chOff x="0" y="0"/>
            <a:chExt cx="14463998" cy="7901464"/>
          </a:xfrm>
        </p:grpSpPr>
        <p:sp>
          <p:nvSpPr>
            <p:cNvPr id="20" name="AutoShape 20"/>
            <p:cNvSpPr/>
            <p:nvPr/>
          </p:nvSpPr>
          <p:spPr>
            <a:xfrm>
              <a:off x="0" y="7864610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  <p:sp>
          <p:nvSpPr>
            <p:cNvPr id="21" name="AutoShape 21"/>
            <p:cNvSpPr/>
            <p:nvPr/>
          </p:nvSpPr>
          <p:spPr>
            <a:xfrm>
              <a:off x="0" y="6291688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  <p:sp>
          <p:nvSpPr>
            <p:cNvPr id="22" name="AutoShape 22"/>
            <p:cNvSpPr/>
            <p:nvPr/>
          </p:nvSpPr>
          <p:spPr>
            <a:xfrm>
              <a:off x="0" y="0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  <p:sp>
          <p:nvSpPr>
            <p:cNvPr id="23" name="AutoShape 23"/>
            <p:cNvSpPr/>
            <p:nvPr/>
          </p:nvSpPr>
          <p:spPr>
            <a:xfrm>
              <a:off x="0" y="1572922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  <p:sp>
          <p:nvSpPr>
            <p:cNvPr id="24" name="AutoShape 24"/>
            <p:cNvSpPr/>
            <p:nvPr/>
          </p:nvSpPr>
          <p:spPr>
            <a:xfrm>
              <a:off x="0" y="3145844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  <p:sp>
          <p:nvSpPr>
            <p:cNvPr id="25" name="AutoShape 25"/>
            <p:cNvSpPr/>
            <p:nvPr/>
          </p:nvSpPr>
          <p:spPr>
            <a:xfrm>
              <a:off x="0" y="4718766"/>
              <a:ext cx="14463998" cy="36854"/>
            </a:xfrm>
            <a:prstGeom prst="rect">
              <a:avLst/>
            </a:prstGeom>
            <a:solidFill>
              <a:srgbClr val="191919">
                <a:alpha val="15686"/>
              </a:srgbClr>
            </a:solidFill>
          </p:spPr>
        </p:sp>
      </p:grpSp>
      <p:sp>
        <p:nvSpPr>
          <p:cNvPr id="26" name="AutoShape 26"/>
          <p:cNvSpPr/>
          <p:nvPr/>
        </p:nvSpPr>
        <p:spPr>
          <a:xfrm rot="-5400000">
            <a:off x="2585147" y="3157215"/>
            <a:ext cx="4624215" cy="33914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</p:sp>
      <p:sp>
        <p:nvSpPr>
          <p:cNvPr id="27" name="AutoShape 27"/>
          <p:cNvSpPr/>
          <p:nvPr/>
        </p:nvSpPr>
        <p:spPr>
          <a:xfrm rot="-5400000">
            <a:off x="4186240" y="3697741"/>
            <a:ext cx="3543161" cy="33914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</p:sp>
      <p:sp>
        <p:nvSpPr>
          <p:cNvPr id="28" name="AutoShape 28"/>
          <p:cNvSpPr/>
          <p:nvPr/>
        </p:nvSpPr>
        <p:spPr>
          <a:xfrm rot="-5400000">
            <a:off x="5445476" y="3896398"/>
            <a:ext cx="3145843" cy="3391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</p:sp>
      <p:sp>
        <p:nvSpPr>
          <p:cNvPr id="30" name="AutoShape 30"/>
          <p:cNvSpPr/>
          <p:nvPr/>
        </p:nvSpPr>
        <p:spPr>
          <a:xfrm rot="-5400000">
            <a:off x="9261181" y="4591352"/>
            <a:ext cx="1862617" cy="323901"/>
          </a:xfrm>
          <a:prstGeom prst="rect">
            <a:avLst/>
          </a:prstGeom>
          <a:solidFill>
            <a:schemeClr val="tx2"/>
          </a:solidFill>
        </p:spPr>
      </p:sp>
      <p:sp>
        <p:nvSpPr>
          <p:cNvPr id="31" name="AutoShape 31"/>
          <p:cNvSpPr/>
          <p:nvPr/>
        </p:nvSpPr>
        <p:spPr>
          <a:xfrm rot="-5400000">
            <a:off x="8190619" y="4535639"/>
            <a:ext cx="1882599" cy="3239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sp>
      <p:sp>
        <p:nvSpPr>
          <p:cNvPr id="32" name="AutoShape 32"/>
          <p:cNvSpPr/>
          <p:nvPr/>
        </p:nvSpPr>
        <p:spPr>
          <a:xfrm rot="-5400000">
            <a:off x="6709832" y="4100183"/>
            <a:ext cx="2738271" cy="3391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</p:sp>
      <p:sp>
        <p:nvSpPr>
          <p:cNvPr id="33" name="AutoShape 33"/>
          <p:cNvSpPr/>
          <p:nvPr/>
        </p:nvSpPr>
        <p:spPr>
          <a:xfrm>
            <a:off x="4455343" y="5638893"/>
            <a:ext cx="6403158" cy="94551"/>
          </a:xfrm>
          <a:prstGeom prst="rect">
            <a:avLst/>
          </a:prstGeom>
          <a:solidFill>
            <a:schemeClr val="tx2">
              <a:alpha val="98824"/>
            </a:schemeClr>
          </a:solidFill>
        </p:spPr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77CC248-4366-4E51-8D47-2700B31A8709}"/>
              </a:ext>
            </a:extLst>
          </p:cNvPr>
          <p:cNvSpPr txBox="1"/>
          <p:nvPr/>
        </p:nvSpPr>
        <p:spPr>
          <a:xfrm>
            <a:off x="5832258" y="1772783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7.9</a:t>
            </a:r>
            <a:endParaRPr lang="en-ID" sz="1400" kern="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65874B5-FA43-403F-ADB2-665BB611EE2A}"/>
              </a:ext>
            </a:extLst>
          </p:cNvPr>
          <p:cNvSpPr txBox="1"/>
          <p:nvPr/>
        </p:nvSpPr>
        <p:spPr>
          <a:xfrm>
            <a:off x="6848822" y="2173840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7.0</a:t>
            </a:r>
            <a:endParaRPr lang="en-ID" sz="1400" kern="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DBFE3F-5BEA-46DD-947D-B7793F3D5A04}"/>
              </a:ext>
            </a:extLst>
          </p:cNvPr>
          <p:cNvSpPr txBox="1"/>
          <p:nvPr/>
        </p:nvSpPr>
        <p:spPr>
          <a:xfrm>
            <a:off x="7909394" y="2578387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6.7</a:t>
            </a:r>
            <a:endParaRPr lang="en-ID" sz="1400" kern="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24908DB-D74E-4D2C-BDBC-C1E11FC884EF}"/>
              </a:ext>
            </a:extLst>
          </p:cNvPr>
          <p:cNvSpPr txBox="1"/>
          <p:nvPr/>
        </p:nvSpPr>
        <p:spPr>
          <a:xfrm>
            <a:off x="9014489" y="3486703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3.7</a:t>
            </a:r>
            <a:endParaRPr lang="en-ID" sz="1400" kern="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307CE6C-3F4F-4C08-9011-A03943982A6A}"/>
              </a:ext>
            </a:extLst>
          </p:cNvPr>
          <p:cNvSpPr txBox="1"/>
          <p:nvPr/>
        </p:nvSpPr>
        <p:spPr>
          <a:xfrm>
            <a:off x="10075060" y="3540846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3.6</a:t>
            </a:r>
            <a:endParaRPr lang="en-ID" sz="1400" kern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7755FFD-F193-42EC-8636-8CA03C69CD08}"/>
              </a:ext>
            </a:extLst>
          </p:cNvPr>
          <p:cNvSpPr txBox="1"/>
          <p:nvPr/>
        </p:nvSpPr>
        <p:spPr>
          <a:xfrm>
            <a:off x="10559714" y="590909"/>
            <a:ext cx="1010653" cy="64633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Data per 100.000 </a:t>
            </a:r>
            <a:r>
              <a:rPr lang="en-US" sz="1400" kern="0" dirty="0" err="1"/>
              <a:t>penduduk</a:t>
            </a:r>
            <a:endParaRPr lang="en-ID" sz="1400" kern="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3E1C38-D9CA-4AFA-9BFA-72B026F87A95}"/>
              </a:ext>
            </a:extLst>
          </p:cNvPr>
          <p:cNvSpPr txBox="1"/>
          <p:nvPr/>
        </p:nvSpPr>
        <p:spPr>
          <a:xfrm>
            <a:off x="4730642" y="716123"/>
            <a:ext cx="415542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12.9</a:t>
            </a:r>
            <a:endParaRPr lang="en-ID" sz="1400" kern="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  <p:bldP spid="39" grpId="0"/>
      <p:bldP spid="40" grpId="0"/>
      <p:bldP spid="4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F820699-D8C9-46E7-B22A-7E2EBCDD2B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F820699-D8C9-46E7-B22A-7E2EBCDD2B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127A0B-500C-4951-93A4-425343391E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altLang="de-DE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1A9EA16-CD6F-4691-9243-A5821CCFD0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93812"/>
              </p:ext>
            </p:extLst>
          </p:nvPr>
        </p:nvGraphicFramePr>
        <p:xfrm>
          <a:off x="587375" y="1398588"/>
          <a:ext cx="6448425" cy="493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34BD6D3-287F-4558-913E-D438FE0CF65C}"/>
              </a:ext>
            </a:extLst>
          </p:cNvPr>
          <p:cNvSpPr txBox="1"/>
          <p:nvPr/>
        </p:nvSpPr>
        <p:spPr>
          <a:xfrm>
            <a:off x="7480302" y="1398588"/>
            <a:ext cx="3638753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Persentase Rentan</a:t>
            </a:r>
          </a:p>
          <a:p>
            <a:r>
              <a:rPr lang="de-DE" altLang="de-DE" sz="2800" spc="300" dirty="0">
                <a:solidFill>
                  <a:schemeClr val="accent1"/>
                </a:solidFill>
              </a:rPr>
              <a:t>Depres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CF46458-6203-4E55-B4C8-EAA17811E851}"/>
              </a:ext>
            </a:extLst>
          </p:cNvPr>
          <p:cNvSpPr txBox="1"/>
          <p:nvPr/>
        </p:nvSpPr>
        <p:spPr>
          <a:xfrm>
            <a:off x="7480302" y="2944614"/>
            <a:ext cx="4132260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amping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rupak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rsentase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nt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presi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yang di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eluark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leh WHO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rdasark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mur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n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jenis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elamin</a:t>
            </a:r>
            <a:endParaRPr lang="de-DE" altLang="de-DE" sz="36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0196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31BE1F2-DD53-4983-B895-FD3A57F968D8}"/>
              </a:ext>
            </a:extLst>
          </p:cNvPr>
          <p:cNvSpPr txBox="1"/>
          <p:nvPr/>
        </p:nvSpPr>
        <p:spPr>
          <a:xfrm>
            <a:off x="2438400" y="3059668"/>
            <a:ext cx="7315200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WHAT’S THE </a:t>
            </a:r>
            <a:r>
              <a:rPr lang="en-US" sz="4800" kern="0" dirty="0">
                <a:solidFill>
                  <a:srgbClr val="FF0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PROBLEM</a:t>
            </a:r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? </a:t>
            </a:r>
            <a:endParaRPr lang="en-ID" sz="4800" kern="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4.44444E-6 L -0.00547 -0.36042 " pathEditMode="relative" rAng="0" ptsTypes="AA">
                                      <p:cBhvr>
                                        <p:cTn id="9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3" y="-180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  <p:bldP spid="3" grpId="1" build="allAtOnce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31BE1F2-DD53-4983-B895-FD3A57F968D8}"/>
              </a:ext>
            </a:extLst>
          </p:cNvPr>
          <p:cNvSpPr txBox="1"/>
          <p:nvPr/>
        </p:nvSpPr>
        <p:spPr>
          <a:xfrm>
            <a:off x="2438400" y="630041"/>
            <a:ext cx="7315200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WHAT’S THE </a:t>
            </a:r>
            <a:r>
              <a:rPr lang="en-US" sz="4800" kern="0" dirty="0">
                <a:solidFill>
                  <a:srgbClr val="FF0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PROBLEM</a:t>
            </a:r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? </a:t>
            </a:r>
            <a:endParaRPr lang="en-ID" sz="4800" kern="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3873AE-9957-49D0-895E-AB60FC75FB42}"/>
              </a:ext>
            </a:extLst>
          </p:cNvPr>
          <p:cNvSpPr txBox="1"/>
          <p:nvPr/>
        </p:nvSpPr>
        <p:spPr>
          <a:xfrm>
            <a:off x="469900" y="1765300"/>
            <a:ext cx="11252200" cy="4207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</a:pP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en-ID" sz="2800" dirty="0" err="1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nimnya</a:t>
            </a: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latform </a:t>
            </a:r>
            <a:r>
              <a:rPr lang="en-ID" sz="2800" dirty="0" err="1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husus</a:t>
            </a: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gi</a:t>
            </a: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derita</a:t>
            </a: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Kesehatan mental</a:t>
            </a:r>
          </a:p>
          <a:p>
            <a:pPr lvl="0">
              <a:lnSpc>
                <a:spcPct val="107000"/>
              </a:lnSpc>
            </a:pPr>
            <a:endParaRPr lang="en-ID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</a:pPr>
            <a:r>
              <a:rPr lang="en-ID" sz="2800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en-ID" sz="2800" dirty="0" err="1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raknya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nerasi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uda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asa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ini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rkena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angguan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ehatan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ental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endParaRPr lang="en-ID" sz="2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</a:pP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  <a:r>
              <a:rPr lang="en-ID" sz="2800" dirty="0" err="1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nimnya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dukasi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syarakat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rhadap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Kesehatan mental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endParaRPr lang="en-ID" sz="2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n-ID" sz="2800" dirty="0">
                <a:solidFill>
                  <a:schemeClr val="tx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4. </a:t>
            </a:r>
            <a:r>
              <a:rPr lang="en-ID" sz="2800" dirty="0" err="1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nyaknya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asus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unuh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ri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gi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ngidap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8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angguan</a:t>
            </a:r>
            <a:r>
              <a:rPr lang="en-ID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Kesehatan ment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885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31BE1F2-DD53-4983-B895-FD3A57F968D8}"/>
              </a:ext>
            </a:extLst>
          </p:cNvPr>
          <p:cNvSpPr txBox="1"/>
          <p:nvPr/>
        </p:nvSpPr>
        <p:spPr>
          <a:xfrm>
            <a:off x="3708400" y="3059668"/>
            <a:ext cx="4775200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WHAT’S </a:t>
            </a:r>
            <a:r>
              <a:rPr lang="en-US" sz="4800" kern="0" dirty="0">
                <a:solidFill>
                  <a:srgbClr val="FF000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EXT</a:t>
            </a:r>
            <a:r>
              <a:rPr lang="en-US" sz="4800" kern="0" dirty="0">
                <a:latin typeface="Segoe UI Black" panose="020B0A02040204020203" pitchFamily="34" charset="0"/>
                <a:ea typeface="Segoe UI Black" panose="020B0A02040204020203" pitchFamily="34" charset="0"/>
              </a:rPr>
              <a:t>? </a:t>
            </a:r>
            <a:endParaRPr lang="en-ID" sz="4800" kern="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5044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EVLb49SI6SfeFtBoGS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7002</TotalTime>
  <Words>953</Words>
  <Application>Microsoft Office PowerPoint</Application>
  <PresentationFormat>Widescreen</PresentationFormat>
  <Paragraphs>171</Paragraphs>
  <Slides>2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ileron Regular</vt:lpstr>
      <vt:lpstr>Arial</vt:lpstr>
      <vt:lpstr>Segoe UI Black</vt:lpstr>
      <vt:lpstr>Segoe UI Semibold</vt:lpstr>
      <vt:lpstr>Wingdings</vt:lpstr>
      <vt:lpstr>Level up! PowerPoint</vt:lpstr>
      <vt:lpstr>think-cell Slide</vt:lpstr>
      <vt:lpstr>PowerPoint Presentation</vt:lpstr>
      <vt:lpstr>PowerPoint Presentation</vt:lpstr>
      <vt:lpstr>Section 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William Pradana Putra</cp:lastModifiedBy>
  <cp:revision>120</cp:revision>
  <dcterms:created xsi:type="dcterms:W3CDTF">2018-05-09T07:34:30Z</dcterms:created>
  <dcterms:modified xsi:type="dcterms:W3CDTF">2022-11-01T04:3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